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amr" ContentType="audio/unknown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21" r:id="rId1"/>
    <p:sldMasterId id="2147484047" r:id="rId2"/>
    <p:sldMasterId id="2147484065" r:id="rId3"/>
    <p:sldMasterId id="2147484068" r:id="rId4"/>
  </p:sldMasterIdLst>
  <p:notesMasterIdLst>
    <p:notesMasterId r:id="rId35"/>
  </p:notesMasterIdLst>
  <p:handoutMasterIdLst>
    <p:handoutMasterId r:id="rId36"/>
  </p:handoutMasterIdLst>
  <p:sldIdLst>
    <p:sldId id="532" r:id="rId5"/>
    <p:sldId id="520" r:id="rId6"/>
    <p:sldId id="482" r:id="rId7"/>
    <p:sldId id="531" r:id="rId8"/>
    <p:sldId id="567" r:id="rId9"/>
    <p:sldId id="529" r:id="rId10"/>
    <p:sldId id="528" r:id="rId11"/>
    <p:sldId id="484" r:id="rId12"/>
    <p:sldId id="560" r:id="rId13"/>
    <p:sldId id="558" r:id="rId14"/>
    <p:sldId id="559" r:id="rId15"/>
    <p:sldId id="574" r:id="rId16"/>
    <p:sldId id="575" r:id="rId17"/>
    <p:sldId id="485" r:id="rId18"/>
    <p:sldId id="534" r:id="rId19"/>
    <p:sldId id="555" r:id="rId20"/>
    <p:sldId id="533" r:id="rId21"/>
    <p:sldId id="551" r:id="rId22"/>
    <p:sldId id="521" r:id="rId23"/>
    <p:sldId id="571" r:id="rId24"/>
    <p:sldId id="572" r:id="rId25"/>
    <p:sldId id="581" r:id="rId26"/>
    <p:sldId id="576" r:id="rId27"/>
    <p:sldId id="577" r:id="rId28"/>
    <p:sldId id="537" r:id="rId29"/>
    <p:sldId id="541" r:id="rId30"/>
    <p:sldId id="564" r:id="rId31"/>
    <p:sldId id="568" r:id="rId32"/>
    <p:sldId id="579" r:id="rId33"/>
    <p:sldId id="580" r:id="rId34"/>
  </p:sldIdLst>
  <p:sldSz cx="13479463" cy="7581900"/>
  <p:notesSz cx="6858000" cy="9144000"/>
  <p:defaultTextStyle>
    <a:defPPr marL="0" marR="0" indent="0" algn="l" defTabSz="895531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1pPr>
    <a:lvl2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2pPr>
    <a:lvl3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3pPr>
    <a:lvl4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4pPr>
    <a:lvl5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5pPr>
    <a:lvl6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6pPr>
    <a:lvl7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7pPr>
    <a:lvl8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8pPr>
    <a:lvl9pPr marL="0" marR="0" indent="0" algn="ctr" defTabSz="44475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2" pos="8419" userDrawn="1">
          <p15:clr>
            <a:srgbClr val="A4A3A4"/>
          </p15:clr>
        </p15:guide>
        <p15:guide id="5" orient="horz" pos="347" userDrawn="1">
          <p15:clr>
            <a:srgbClr val="A4A3A4"/>
          </p15:clr>
        </p15:guide>
        <p15:guide id="7" orient="horz" pos="415" userDrawn="1">
          <p15:clr>
            <a:srgbClr val="A4A3A4"/>
          </p15:clr>
        </p15:guide>
        <p15:guide id="9" pos="18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ельникова Ирина Игоревна" initials="МИИ" lastIdx="4" clrIdx="0">
    <p:extLst>
      <p:ext uri="{19B8F6BF-5375-455C-9EA6-DF929625EA0E}">
        <p15:presenceInfo xmlns:p15="http://schemas.microsoft.com/office/powerpoint/2012/main" userId="S-1-5-21-2734858679-1761669737-1885829517-4382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5EA"/>
    <a:srgbClr val="92D050"/>
    <a:srgbClr val="EE8137"/>
    <a:srgbClr val="0AD907"/>
    <a:srgbClr val="FAF9F9"/>
    <a:srgbClr val="8A51A0"/>
    <a:srgbClr val="DBF2C4"/>
    <a:srgbClr val="D5FC79"/>
    <a:srgbClr val="333333"/>
    <a:srgbClr val="4686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D2E8"/>
          </a:solidFill>
        </a:fill>
      </a:tcStyle>
    </a:wholeTbl>
    <a:band2H>
      <a:tcTxStyle/>
      <a:tcStyle>
        <a:tcBdr/>
        <a:fill>
          <a:solidFill>
            <a:srgbClr val="E6EAF4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2E7CB"/>
          </a:solidFill>
        </a:fill>
      </a:tcStyle>
    </a:wholeTbl>
    <a:band2H>
      <a:tcTxStyle/>
      <a:tcStyle>
        <a:tcBdr/>
        <a:fill>
          <a:solidFill>
            <a:srgbClr val="F8F4E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5CDDE"/>
          </a:solidFill>
        </a:fill>
      </a:tcStyle>
    </a:wholeTbl>
    <a:band2H>
      <a:tcTxStyle/>
      <a:tcStyle>
        <a:tcBdr/>
        <a:fill>
          <a:solidFill>
            <a:srgbClr val="EBE8E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9843" autoAdjust="0"/>
    <p:restoredTop sz="41769" autoAdjust="0"/>
  </p:normalViewPr>
  <p:slideViewPr>
    <p:cSldViewPr snapToGrid="0" showGuides="1">
      <p:cViewPr varScale="1">
        <p:scale>
          <a:sx n="26" d="100"/>
          <a:sy n="26" d="100"/>
        </p:scale>
        <p:origin x="378" y="66"/>
      </p:cViewPr>
      <p:guideLst>
        <p:guide pos="8419"/>
        <p:guide orient="horz" pos="347"/>
        <p:guide orient="horz" pos="415"/>
        <p:guide pos="186"/>
      </p:guideLst>
    </p:cSldViewPr>
  </p:slideViewPr>
  <p:notesTextViewPr>
    <p:cViewPr>
      <p:scale>
        <a:sx n="180" d="100"/>
        <a:sy n="18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31" d="100"/>
          <a:sy n="131" d="100"/>
        </p:scale>
        <p:origin x="505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CE74AC-0C9A-41C6-A050-67A527DB6C57}" type="datetimeFigureOut">
              <a:rPr lang="ru-RU" smtClean="0"/>
              <a:t>16.10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1CAFBA-1850-40AC-852A-7282CE4B646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412159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058200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1pPr>
    <a:lvl2pPr indent="223900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2pPr>
    <a:lvl3pPr indent="447762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3pPr>
    <a:lvl4pPr indent="671618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4pPr>
    <a:lvl5pPr indent="895531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5pPr>
    <a:lvl6pPr indent="1119425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6pPr>
    <a:lvl7pPr indent="1343293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7pPr>
    <a:lvl8pPr indent="1567175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8pPr>
    <a:lvl9pPr indent="1791067" defTabSz="447762" latinLnBrk="0">
      <a:lnSpc>
        <a:spcPct val="117999"/>
      </a:lnSpc>
      <a:defRPr sz="2200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Цель нашей встречи рассказать основные правила безопасности при работе банковскими продуктами и просто при оплате в интернете. </a:t>
            </a:r>
          </a:p>
          <a:p>
            <a:r>
              <a:rPr lang="ru-RU" dirty="0"/>
              <a:t>Системы банков надежно защищены от мошенничества, но существует риск раскрытия вами личных данных и использования их злоумышленниками</a:t>
            </a:r>
          </a:p>
          <a:p>
            <a:endParaRPr lang="ru-RU" dirty="0"/>
          </a:p>
          <a:p>
            <a:r>
              <a:rPr lang="ru-RU" dirty="0"/>
              <a:t>Сталкивался кто-то из вас с «звонками из Банка»</a:t>
            </a:r>
          </a:p>
          <a:p>
            <a:r>
              <a:rPr lang="ru-RU" dirty="0"/>
              <a:t>СМС от банка (со странным номером)</a:t>
            </a:r>
          </a:p>
          <a:p>
            <a:r>
              <a:rPr lang="ru-RU" dirty="0"/>
              <a:t>Просьбой перевести денег «по ошибке»</a:t>
            </a:r>
          </a:p>
          <a:p>
            <a:r>
              <a:rPr lang="ru-RU" dirty="0"/>
              <a:t>Просьбой ребенка или родственника «попавшего в беду?»</a:t>
            </a:r>
          </a:p>
        </p:txBody>
      </p:sp>
    </p:spTree>
    <p:extLst>
      <p:ext uri="{BB962C8B-B14F-4D97-AF65-F5344CB8AC3E}">
        <p14:creationId xmlns:p14="http://schemas.microsoft.com/office/powerpoint/2010/main" val="39473878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мобильный банк должен быть  подключен к телефону, который оформлен на владельц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19732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мобильный банк должен быть  подключен к телефону, который оформлен на владельца (если у вас симка купленная у метро, не стоит на нее настраивать мобильный банк</a:t>
            </a:r>
            <a:r>
              <a:rPr lang="en-US" sz="2200" dirty="0">
                <a:effectLst/>
                <a:latin typeface="+mn-lt"/>
                <a:ea typeface="+mn-ea"/>
                <a:cs typeface="+mn-cs"/>
                <a:sym typeface="Helvetica Neue"/>
              </a:rPr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62990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Если с номера 900 вам пришла информация о переводе, который вы не совершили, необходимо обратиться в банк, чтобы обезопасить ваши сбережения</a:t>
            </a:r>
          </a:p>
        </p:txBody>
      </p:sp>
    </p:spTree>
    <p:extLst>
      <p:ext uri="{BB962C8B-B14F-4D97-AF65-F5344CB8AC3E}">
        <p14:creationId xmlns:p14="http://schemas.microsoft.com/office/powerpoint/2010/main" val="213233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то такое интернет-банкинг:</a:t>
            </a:r>
          </a:p>
          <a:p>
            <a:pPr algn="l" defTabSz="1010961" hangingPunct="1"/>
            <a:endParaRPr lang="en-US" sz="700" b="0" kern="1200" dirty="0">
              <a:solidFill>
                <a:srgbClr val="439639">
                  <a:lumMod val="75000"/>
                </a:srgbClr>
              </a:solidFill>
              <a:ea typeface="+mn-ea"/>
              <a:cs typeface="+mn-cs"/>
            </a:endParaRPr>
          </a:p>
          <a:p>
            <a:pPr algn="l" defTabSz="1010961" hangingPunct="1"/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услуга, которая обеспечивает наиболее </a:t>
            </a:r>
          </a:p>
          <a:p>
            <a:pPr algn="l" defTabSz="1010961" hangingPunct="1"/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фортный контакт вас и банка. </a:t>
            </a:r>
          </a:p>
          <a:p>
            <a:pPr algn="l" defTabSz="1010961" hangingPunct="1"/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нет-банкинг позволяет самостоятельно и в любое время пользоваться услугами банка через интернет.</a:t>
            </a:r>
          </a:p>
          <a:p>
            <a:pPr algn="l" defTabSz="1010961" hangingPunct="1"/>
            <a:r>
              <a:rPr lang="ru-RU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а позволяет:</a:t>
            </a:r>
          </a:p>
          <a:p>
            <a:pPr algn="l" defTabSz="1010961" hangingPunct="1"/>
            <a:endParaRPr lang="ru-RU" sz="2400" kern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15925" indent="-315925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сматривать баланс банковской карты</a:t>
            </a:r>
          </a:p>
          <a:p>
            <a:pPr marL="315925" indent="-315925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уществлять переводы денежных средств между своими счетами </a:t>
            </a:r>
            <a:br>
              <a:rPr lang="ru-RU" sz="2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в адрес третьих  лиц</a:t>
            </a:r>
          </a:p>
          <a:p>
            <a:pPr marL="315925" indent="-315925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2400" kern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10961" eaLnBrk="1" fontAlgn="auto" latinLnBrk="0" hangingPunct="1">
              <a:lnSpc>
                <a:spcPct val="117999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подключить:</a:t>
            </a:r>
          </a:p>
          <a:p>
            <a:pPr marL="315925" marR="0" lvl="0" indent="-315925" algn="l" defTabSz="1010961" eaLnBrk="1" fontAlgn="auto" latinLnBrk="0" hangingPunct="1">
              <a:lnSpc>
                <a:spcPct val="117999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еть банковскую карту</a:t>
            </a:r>
          </a:p>
          <a:p>
            <a:pPr marL="315925" marR="0" lvl="0" indent="-315925" algn="l" defTabSz="1010961" eaLnBrk="1" fontAlgn="auto" latinLnBrk="0" hangingPunct="1">
              <a:lnSpc>
                <a:spcPct val="117999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ключить на нее услугу «Мобильный банк»</a:t>
            </a:r>
          </a:p>
          <a:p>
            <a:pPr marL="315925" marR="0" lvl="0" indent="-315925" algn="l" defTabSz="1010961" eaLnBrk="1" fontAlgn="auto" latinLnBrk="0" hangingPunct="1">
              <a:lnSpc>
                <a:spcPct val="117999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ить логин с паролем</a:t>
            </a:r>
          </a:p>
          <a:p>
            <a:pPr marL="315925" indent="-315925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2400" kern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ключение и обслуживание бесплатно</a:t>
            </a:r>
          </a:p>
          <a:p>
            <a:endParaRPr lang="ru-RU" dirty="0"/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АВИЛА БЕЗОПАСНОСТИ:</a:t>
            </a:r>
          </a:p>
          <a:p>
            <a:pPr marL="315925" indent="-315925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икому не сообщайте пароли для входа </a:t>
            </a:r>
            <a:b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Сбербанк Онлайн</a:t>
            </a:r>
            <a:b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же своим близким и сотрудникам банка. </a:t>
            </a:r>
          </a:p>
          <a:p>
            <a:pPr marL="315925" indent="-315925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бедитесь, что адресная строка начинается  с префикса https://</a:t>
            </a:r>
          </a:p>
          <a:p>
            <a:pPr marL="315925" indent="-315925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пользуйте только официальный сайт Сбербанк Онлайн</a:t>
            </a:r>
          </a:p>
          <a:p>
            <a:pPr marL="315925" indent="-315925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еряйте реквизиты операции в СМС </a:t>
            </a:r>
            <a:b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одноразовым паролем от номера 900</a:t>
            </a:r>
          </a:p>
          <a:p>
            <a:pPr marL="315925" indent="-315925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пользуйте антивирус на ваших устройствах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4C0BA-3C28-48C9-911B-92BCB6F07E6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08676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15089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амый</a:t>
            </a:r>
            <a:r>
              <a:rPr lang="ru-RU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главный вид  угроз - социальная инженерия. Она ломает не машины, не заражает вирусы, она ломает людей, пользуясь их неосведомленностью и наивностью. Участились случи взлома почты руководителей организаций, с которых направляются письма сотрудникам о проведении каких-либо транзакций. Люди владеющие этим способом  психологи, ломают нас с вами. </a:t>
            </a:r>
          </a:p>
          <a:p>
            <a:r>
              <a:rPr lang="ru-RU" dirty="0"/>
              <a:t>Фишинг, как вид</a:t>
            </a:r>
            <a:r>
              <a:rPr lang="ru-RU" baseline="0" dirty="0"/>
              <a:t> социальной инженерии, </a:t>
            </a:r>
            <a:r>
              <a:rPr lang="ru-RU" dirty="0"/>
              <a:t>становится все  виртуозней. Становится</a:t>
            </a:r>
            <a:r>
              <a:rPr lang="ru-RU" baseline="0" dirty="0"/>
              <a:t> все сложнее определить наличие следов фишинга. Получателям остается лишь усилить свою бдительность и быть осторожным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4475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AAD57D-9ACE-4DAC-94EB-21D8C33BCC91}" type="slidenum">
              <a:rPr kumimoji="0" lang="ru-RU" sz="2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Light"/>
                <a:sym typeface="Helvetica Light"/>
              </a:rPr>
              <a:pPr marL="0" marR="0" lvl="0" indent="0" algn="ctr" defTabSz="44475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2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391181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оциальный инженер — психолог и манипулятор. Его среда — социальные сети, </a:t>
            </a:r>
          </a:p>
          <a:p>
            <a:r>
              <a:rPr lang="ru-RU" dirty="0"/>
              <a:t>мессенджеры и телефонные разговоры. Посредством их мошенник не только распространяет </a:t>
            </a:r>
          </a:p>
          <a:p>
            <a:r>
              <a:rPr lang="ru-RU" dirty="0"/>
              <a:t>вредоносные ссылки, но и напрямую выманивает конфиденциальные данные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01996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journal.tinkoff.ru/scams/</a:t>
            </a:r>
            <a:r>
              <a:rPr lang="ru-RU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88900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40C46A-ADF8-4826-8941-2793C419A0D2}" type="slidenum">
              <a:rPr lang="ru-RU" smtClean="0"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38883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24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3BAAD57D-9ACE-4DAC-94EB-21D8C33BCC91}" type="slidenum">
              <a:rPr lang="ru-RU" smtClean="0"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7584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то такое банковская карта и как она выглядит, что важно знать о карте:</a:t>
            </a:r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ая карта </a:t>
            </a:r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пластиковая карточка, которая используется для оплаты товаров и услуг, в том числе через интернет, а также для снятия наличных денег </a:t>
            </a:r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400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я на карте: Номер карты, срок действия, имя владельца карты. </a:t>
            </a:r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400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VC/CVV </a:t>
            </a:r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три цифры на задней стороне банковской карты – код для проверки её подлинности. </a:t>
            </a:r>
            <a:r>
              <a:rPr lang="en-US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VC </a:t>
            </a:r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 придуман для того, чтобы можно было подтвердить подлинность карты при оплате дистанционно, например в интернете.</a:t>
            </a:r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н</a:t>
            </a:r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код, который выдается отдельно в конверте.</a:t>
            </a:r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400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4C0BA-3C28-48C9-911B-92BCB6F07E6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510127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67730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Если у вас срочный вопрос к банку о безопасности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Вы хотите поделиться опасениями</a:t>
            </a:r>
          </a:p>
          <a:p>
            <a:pPr marL="285750" indent="-285750" algn="l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Или вас уже обманули мошенники, срочно звоните: </a:t>
            </a:r>
          </a:p>
          <a:p>
            <a:endParaRPr lang="ru-RU" sz="24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3BAAD57D-9ACE-4DAC-94EB-21D8C33BCC91}" type="slidenum">
              <a:rPr lang="ru-RU" smtClean="0"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683308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При работе с картой соблюдайте бдительность и запомните, что нельзя сообщать никому: логины, пароли, CVV-коды от банковских карт, подтверждающие пароли из СМС.</a:t>
            </a:r>
          </a:p>
          <a:p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Не совершайте операции по просьбе третьих лиц это могут быть мошенники, которые выдают себя за сотрудников Сбербанка или других финансовых организаций. </a:t>
            </a:r>
          </a:p>
          <a:p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Завершите разговор и позвоните на номер 900, что бы разобраться в случившемся.</a:t>
            </a:r>
          </a:p>
          <a:p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Также не переходите по ссылкам, направленным с неизвестных номеров; если ссылка пришла от человека из адресной книги, переспросите у него, действительно ли он отправлял эту ссылку. </a:t>
            </a:r>
          </a:p>
          <a:p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Используйте антивирус. Установите на телефон </a:t>
            </a:r>
            <a:r>
              <a:rPr lang="ru-RU" sz="2200" dirty="0" err="1">
                <a:effectLst/>
                <a:latin typeface="+mn-lt"/>
                <a:ea typeface="+mn-ea"/>
                <a:cs typeface="+mn-cs"/>
                <a:sym typeface="Helvetica Neue"/>
              </a:rPr>
              <a:t>Android</a:t>
            </a:r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 приложение Сбербанк Онлайн с бесплатным антивирусом.</a:t>
            </a:r>
          </a:p>
          <a:p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Помните, Сбербанк отправляет СМС только с номеров 900 и 9000</a:t>
            </a:r>
          </a:p>
          <a:p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При любых сомнениях звоните в контактный центр Сбербанка на номер 900 (с мобильного телефона) или на номер, указанный на обратной стороне карты. </a:t>
            </a:r>
          </a:p>
          <a:p>
            <a:endParaRPr lang="ru-RU" dirty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3BAAD57D-9ACE-4DAC-94EB-21D8C33BCC91}" type="slidenum">
              <a:rPr lang="ru-RU" smtClean="0"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11131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2200" i="1" dirty="0">
                <a:effectLst/>
                <a:latin typeface="+mn-lt"/>
                <a:ea typeface="+mn-ea"/>
                <a:cs typeface="+mn-cs"/>
                <a:sym typeface="Helvetica Neue"/>
              </a:rPr>
              <a:t>Ответ В: Банк никогда не спрашивает CVV/CVC-код, логин и пароль от Сбербанк Онлайн или код из </a:t>
            </a:r>
            <a:r>
              <a:rPr lang="en-US" sz="2200" i="1" dirty="0">
                <a:effectLst/>
                <a:latin typeface="+mn-lt"/>
                <a:ea typeface="+mn-ea"/>
                <a:cs typeface="+mn-cs"/>
                <a:sym typeface="Helvetica Neue"/>
              </a:rPr>
              <a:t>SMS</a:t>
            </a:r>
            <a:r>
              <a:rPr lang="ru-RU" sz="2200" i="1" dirty="0">
                <a:effectLst/>
                <a:latin typeface="+mn-lt"/>
                <a:ea typeface="+mn-ea"/>
                <a:cs typeface="+mn-cs"/>
                <a:sym typeface="Helvetica Neue"/>
              </a:rPr>
              <a:t>.</a:t>
            </a:r>
            <a:r>
              <a:rPr lang="ru-RU" dirty="0">
                <a:effectLst/>
              </a:rPr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58675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200" dirty="0">
                <a:effectLst/>
                <a:latin typeface="+mn-lt"/>
                <a:ea typeface="+mn-ea"/>
                <a:cs typeface="+mn-cs"/>
                <a:sym typeface="Helvetica Neue"/>
              </a:rPr>
              <a:t>Ответ С: мобильный банк должен быть  подключен к телефону, который оформлен на владельца (если у вас симка купленная у метро, не стоит на нее настраивать мобильный банк</a:t>
            </a:r>
            <a:r>
              <a:rPr lang="en-US" sz="2200" dirty="0">
                <a:effectLst/>
                <a:latin typeface="+mn-lt"/>
                <a:ea typeface="+mn-ea"/>
                <a:cs typeface="+mn-cs"/>
                <a:sym typeface="Helvetica Neue"/>
              </a:rPr>
              <a:t>)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83223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твет С: </a:t>
            </a:r>
            <a:r>
              <a:rPr lang="ru-RU" sz="2200" i="1" dirty="0">
                <a:effectLst/>
                <a:latin typeface="+mn-lt"/>
                <a:ea typeface="+mn-ea"/>
                <a:cs typeface="+mn-cs"/>
                <a:sym typeface="Helvetica Neue"/>
              </a:rPr>
              <a:t>Банк никогда не спрашивает CVV/CVC-код, логин и пароль от Сбербанк Онлайн или код из </a:t>
            </a:r>
            <a:r>
              <a:rPr lang="en-US" sz="2200" i="1" dirty="0">
                <a:effectLst/>
                <a:latin typeface="+mn-lt"/>
                <a:ea typeface="+mn-ea"/>
                <a:cs typeface="+mn-cs"/>
                <a:sym typeface="Helvetica Neue"/>
              </a:rPr>
              <a:t>SMS</a:t>
            </a:r>
            <a:r>
              <a:rPr lang="ru-RU" sz="2200" i="1" dirty="0">
                <a:effectLst/>
                <a:latin typeface="+mn-lt"/>
                <a:ea typeface="+mn-ea"/>
                <a:cs typeface="+mn-cs"/>
                <a:sym typeface="Helvetica Neue"/>
              </a:rPr>
              <a:t>.</a:t>
            </a:r>
            <a:r>
              <a:rPr lang="ru-RU" dirty="0">
                <a:effectLst/>
              </a:rPr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3961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К БЕЗОПАСНО ПОЛЬЗОВАТЬСЯ БАНКОВСКОЙ КАРТОЙ:</a:t>
            </a:r>
          </a:p>
          <a:p>
            <a:endParaRPr lang="ru-RU" sz="24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24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24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икогда не давайте людям «подержать» свою карту</a:t>
            </a:r>
            <a:endParaRPr lang="ru-RU" sz="24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2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формации, которая указана на карте, достаточно для того, чтобы совершить с её помощью покупку на некоторых сайтах в интернете. Поэтому карту лучше вообще никому не давать в руки. Даже в кафе опасно расплачиваться картами, когда официант её уносит, чтобы провести платёж. В идеале — не давать официанту карту, а самому вставлять её в устройство и вводить пароль.  И обязательно использовать карту, которая связана с вашим номером телефона. Если кто-то захочет что-то оплатить вашей картой, вам придёт код-подтверждение. И вы поймёте, что официант решил вас обмануть.</a:t>
            </a:r>
          </a:p>
        </p:txBody>
      </p:sp>
    </p:spTree>
    <p:extLst>
      <p:ext uri="{BB962C8B-B14F-4D97-AF65-F5344CB8AC3E}">
        <p14:creationId xmlns:p14="http://schemas.microsoft.com/office/powerpoint/2010/main" val="950887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од не должен быть днями рождения и другими данными, которые о вас легко узнать</a:t>
            </a:r>
          </a:p>
          <a:p>
            <a:endParaRPr lang="ru-RU" dirty="0"/>
          </a:p>
          <a:p>
            <a:r>
              <a:rPr lang="ru-RU" dirty="0"/>
              <a:t>И лучше его заменить, чтобы не хранить его в конверте.</a:t>
            </a:r>
          </a:p>
        </p:txBody>
      </p:sp>
    </p:spTree>
    <p:extLst>
      <p:ext uri="{BB962C8B-B14F-4D97-AF65-F5344CB8AC3E}">
        <p14:creationId xmlns:p14="http://schemas.microsoft.com/office/powerpoint/2010/main" val="17098739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Его никому нельзя говорить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18043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шенники могут подглядеть ваш ПИН-код, пока вы снимаете деньги в банкомате. Потом незаметно воруют карту, опустошают и выбрасывают её. Чтобы никто ничего не подсмотрел, прикрывайте рукой клавиатуру банкомата. А если кто-то подозрительный будет стоять слишком близко, просто попросите его отойти.</a:t>
            </a:r>
          </a:p>
          <a:p>
            <a:endParaRPr lang="ru-RU" dirty="0"/>
          </a:p>
          <a:p>
            <a:r>
              <a:rPr lang="ru-RU" dirty="0"/>
              <a:t>При наборе ПИН-кода прикрывайте клавиатуру рукой. Если вокруг нет людей — это еще не означает, что мошенники за вами не наблюдают.</a:t>
            </a:r>
          </a:p>
          <a:p>
            <a:r>
              <a:rPr lang="ru-RU" dirty="0"/>
              <a:t>Если на входе в помещение с банкоматом установлено устройство, которое требует ПИН-код вашей карты, не вводите ПИН и не входите туда.</a:t>
            </a:r>
          </a:p>
          <a:p>
            <a:r>
              <a:rPr lang="ru-RU" dirty="0"/>
              <a:t>Не принимайте помощь от незнакомцев. Находясь у банкомата, не прислушивайтесь к советам незнакомых людей и не принимайте их помощь. Если вам нужна помощь, обратитесь к сотруднику банка или позвоните в контактный центр банка по номеру 900 (звонок с мобильного телефона на территории России бесплатный).</a:t>
            </a:r>
          </a:p>
          <a:p>
            <a:r>
              <a:rPr lang="ru-RU" dirty="0"/>
              <a:t>Отдавайте предпочтение банкоматам, установленным в защищенных местах (например, в госучреждениях, офисах банков, крупных торговых центрах).</a:t>
            </a:r>
          </a:p>
          <a:p>
            <a:r>
              <a:rPr lang="ru-RU" dirty="0"/>
              <a:t>Не используйте банкомат в присутствии подозрительных лиц. Подождите, пока они разойдутся, или воспользуйтесь другим банкоматом</a:t>
            </a:r>
          </a:p>
          <a:p>
            <a:r>
              <a:rPr lang="ru-RU" dirty="0"/>
              <a:t>Осмотрите банкомат перед использованием. Убедитесь, что на клавиатуре и в месте для приема карт нет дополнительных устройств. Обращайте внимание на неисправности и повреждения — например, на неровно установленную клавиатуру. Если что-то вызвало подозрения, не пользуйтесь этим банкоматом.</a:t>
            </a:r>
          </a:p>
          <a:p>
            <a:r>
              <a:rPr lang="ru-RU" dirty="0"/>
              <a:t>Не используйте неисправный банкомат. Если банкомат зависает, самопроизвольно перезагружается или на экране появляются подозрительные изображения  — не пользуйтесь им. Отмените текущую операцию, нажав кнопку «Отмена», и дождитесь возврата карты.</a:t>
            </a:r>
          </a:p>
          <a:p>
            <a:endParaRPr lang="ru-RU" dirty="0"/>
          </a:p>
          <a:p>
            <a:r>
              <a:rPr lang="ru-RU" dirty="0"/>
              <a:t>Если банкомат не возвращает карту, позвоните на номер 900 или по телефону, указанному на банкомате. Не отходите от банкомата, пока не выполните рекомендации сотрудника банка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60140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1010961" hangingPunct="1"/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банковская услуга, которая позволяет распоряжаться своими деньгами и оперативно отслеживать по СМС поступление и списание денег с карты</a:t>
            </a:r>
          </a:p>
          <a:p>
            <a:pPr algn="l" defTabSz="1010961" hangingPunct="1"/>
            <a:endParaRPr lang="ru-RU" sz="1200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010961" hangingPunct="1"/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ользования мобильным банкингом не нужно иметь</a:t>
            </a:r>
          </a:p>
          <a:p>
            <a:pPr algn="l" defTabSz="1010961" hangingPunct="1"/>
            <a:r>
              <a:rPr lang="ru-RU" sz="2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 компьютера, ни доступ в интернет – только ТЕЛЕФОН!</a:t>
            </a:r>
          </a:p>
          <a:p>
            <a:pPr algn="l" defTabSz="1010961" hangingPunct="1"/>
            <a:r>
              <a:rPr lang="ru-RU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а позволяет:</a:t>
            </a:r>
          </a:p>
          <a:p>
            <a:pPr algn="l" defTabSz="1010961" hangingPunct="1"/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ать СМС-уведомления о совершенных покупках </a:t>
            </a:r>
            <a:b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банковским картам</a:t>
            </a:r>
          </a:p>
          <a:p>
            <a:pPr marL="285750" indent="-285750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леживать поступление денежных средств </a:t>
            </a:r>
            <a:b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банковскую карту </a:t>
            </a:r>
          </a:p>
          <a:p>
            <a:pPr marL="285750" indent="-285750" algn="l" defTabSz="1010961" hangingPunct="1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ять переводы денежных средств в адрес третьих лиц</a:t>
            </a:r>
          </a:p>
          <a:p>
            <a:endParaRPr lang="ru-RU" dirty="0"/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подключить:</a:t>
            </a:r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ключить карточку к услуге </a:t>
            </a:r>
            <a:b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любом </a:t>
            </a:r>
            <a:r>
              <a:rPr lang="ru-RU" sz="2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киоске</a:t>
            </a: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ли банкомате</a:t>
            </a:r>
          </a:p>
          <a:p>
            <a:pPr marL="0" marR="0" lvl="0" indent="0" algn="l" defTabSz="447762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латить услугу согласно тарифам банка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24C0BA-3C28-48C9-911B-92BCB6F07E6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23234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од из СМС – это элемент дополнительной защиты, его нельзя устно сообщать никому. Вводить в интернете, только если вы уверены в интернет-магазине</a:t>
            </a:r>
          </a:p>
        </p:txBody>
      </p:sp>
    </p:spTree>
    <p:extLst>
      <p:ext uri="{BB962C8B-B14F-4D97-AF65-F5344CB8AC3E}">
        <p14:creationId xmlns:p14="http://schemas.microsoft.com/office/powerpoint/2010/main" val="20783726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Чтобы следующий владелец телефона не мог распоряжаться вашей картой, при смене номера позвоните в банк и оператору сотовой связи</a:t>
            </a:r>
          </a:p>
        </p:txBody>
      </p:sp>
    </p:spTree>
    <p:extLst>
      <p:ext uri="{BB962C8B-B14F-4D97-AF65-F5344CB8AC3E}">
        <p14:creationId xmlns:p14="http://schemas.microsoft.com/office/powerpoint/2010/main" val="189973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000156" y="3051391"/>
            <a:ext cx="7736664" cy="295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4800" b="1" spc="0" baseline="0" noProof="0" dirty="0" smtClean="0">
                <a:solidFill>
                  <a:srgbClr val="868686"/>
                </a:solidFill>
              </a:defRPr>
            </a:lvl1pPr>
          </a:lstStyle>
          <a:p>
            <a:pPr lvl="0" defTabSz="1012759"/>
            <a:r>
              <a:rPr lang="ru-RU" noProof="0" dirty="0"/>
              <a:t>ОБРАЗЕЦ 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ru-RU" noProof="0" dirty="0"/>
              <a:t>ЗАГОЛОВКА</a:t>
            </a:r>
            <a:r>
              <a:rPr lang="en-US" noProof="0" dirty="0"/>
              <a:t/>
            </a:r>
            <a:br>
              <a:rPr lang="en-US" noProof="0" dirty="0"/>
            </a:br>
            <a:r>
              <a:rPr lang="ru-RU" noProof="0" dirty="0"/>
              <a:t>В НЕСКОЛЬКО</a:t>
            </a:r>
            <a:br>
              <a:rPr lang="ru-RU" noProof="0" dirty="0"/>
            </a:br>
            <a:r>
              <a:rPr lang="ru-RU" noProof="0" dirty="0"/>
              <a:t>СТРОК</a:t>
            </a: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8" y="129473"/>
            <a:ext cx="6449353" cy="2024373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>
            <a:off x="6330875" y="699248"/>
            <a:ext cx="7148588" cy="846332"/>
          </a:xfrm>
          <a:prstGeom prst="rect">
            <a:avLst/>
          </a:prstGeom>
          <a:solidFill>
            <a:srgbClr val="86868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6562641" y="923295"/>
            <a:ext cx="358488" cy="398238"/>
            <a:chOff x="236048" y="487324"/>
            <a:chExt cx="251124" cy="278969"/>
          </a:xfrm>
        </p:grpSpPr>
        <p:sp>
          <p:nvSpPr>
            <p:cNvPr id="16" name="Нашивка 15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Нашивка 16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061067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000156" y="3051391"/>
            <a:ext cx="7736664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4800" b="1" spc="0" baseline="0" noProof="0" dirty="0" smtClean="0">
                <a:solidFill>
                  <a:srgbClr val="868686"/>
                </a:solidFill>
              </a:defRPr>
            </a:lvl1pPr>
          </a:lstStyle>
          <a:p>
            <a:pPr lvl="0" defTabSz="1012759"/>
            <a:r>
              <a:rPr lang="ru-RU" noProof="0" dirty="0"/>
              <a:t>СПАСИБО </a:t>
            </a:r>
            <a:br>
              <a:rPr lang="ru-RU" noProof="0" dirty="0"/>
            </a:br>
            <a:r>
              <a:rPr lang="ru-RU" noProof="0" dirty="0"/>
              <a:t>ЗА ВНИМАНИЕ</a:t>
            </a: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88" y="5557527"/>
            <a:ext cx="6449353" cy="2024373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>
            <a:off x="6330875" y="6127302"/>
            <a:ext cx="7148588" cy="846332"/>
          </a:xfrm>
          <a:prstGeom prst="rect">
            <a:avLst/>
          </a:prstGeom>
          <a:solidFill>
            <a:srgbClr val="86868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6562641" y="6351349"/>
            <a:ext cx="358488" cy="398238"/>
            <a:chOff x="236048" y="487324"/>
            <a:chExt cx="251124" cy="278969"/>
          </a:xfrm>
        </p:grpSpPr>
        <p:sp>
          <p:nvSpPr>
            <p:cNvPr id="16" name="Нашивка 15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" name="Нашивка 16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216469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97"/>
          <a:stretch/>
        </p:blipFill>
        <p:spPr>
          <a:xfrm>
            <a:off x="-1" y="0"/>
            <a:ext cx="13479463" cy="7581900"/>
          </a:xfrm>
          <a:prstGeom prst="rect">
            <a:avLst/>
          </a:prstGeom>
        </p:spPr>
      </p:pic>
      <p:pic>
        <p:nvPicPr>
          <p:cNvPr id="9" name="Picture 2" descr="http://www.sberbank.ru/portalserver/static/sb-bundle/images/main-logo-always.png"/>
          <p:cNvPicPr>
            <a:picLocks noChangeAspect="1" noChangeArrowheads="1"/>
          </p:cNvPicPr>
          <p:nvPr userDrawn="1"/>
        </p:nvPicPr>
        <p:blipFill>
          <a:blip r:embed="rId3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9049" y="421346"/>
            <a:ext cx="1761627" cy="393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89144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nam04-b\box1\KK_UMK\МАКЕТЫ\обмен\ДЗО\cov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3479463" cy="7584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99246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3973" y="303629"/>
            <a:ext cx="12131517" cy="12636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73973" y="7027303"/>
            <a:ext cx="3145208" cy="403666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605483" y="7027303"/>
            <a:ext cx="4268497" cy="403666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660282" y="7027303"/>
            <a:ext cx="3145208" cy="403666"/>
          </a:xfrm>
          <a:prstGeom prst="rect">
            <a:avLst/>
          </a:prstGeom>
        </p:spPr>
        <p:txBody>
          <a:bodyPr/>
          <a:lstStyle/>
          <a:p>
            <a:fld id="{CD3FA77A-63D1-40C4-A99F-DCCC8B75DFD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68393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2"/>
          <p:cNvSpPr txBox="1">
            <a:spLocks/>
          </p:cNvSpPr>
          <p:nvPr userDrawn="1"/>
        </p:nvSpPr>
        <p:spPr>
          <a:xfrm>
            <a:off x="0" y="404368"/>
            <a:ext cx="13479464" cy="1118228"/>
          </a:xfrm>
          <a:prstGeom prst="rect">
            <a:avLst/>
          </a:prstGeom>
        </p:spPr>
        <p:txBody>
          <a:bodyPr vert="horz" wrap="square" lIns="39632" tIns="19816" rIns="39632" bIns="19816" rtlCol="0" anchor="ctr">
            <a:noAutofit/>
          </a:bodyPr>
          <a:lstStyle>
            <a:lvl1pPr algn="ctr" defTabSz="2056574" rtl="0" eaLnBrk="1" latinLnBrk="0" hangingPunct="1">
              <a:spcBef>
                <a:spcPct val="0"/>
              </a:spcBef>
              <a:buNone/>
              <a:defRPr sz="9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96415" fontAlgn="base">
              <a:lnSpc>
                <a:spcPct val="90000"/>
              </a:lnSpc>
              <a:spcAft>
                <a:spcPct val="0"/>
              </a:spcAft>
            </a:pPr>
            <a:endParaRPr lang="ru-RU" sz="2808" b="1" kern="0" spc="-66" dirty="0">
              <a:solidFill>
                <a:schemeClr val="tx1">
                  <a:lumMod val="75000"/>
                  <a:lumOff val="25000"/>
                </a:schemeClr>
              </a:solidFill>
              <a:effectLst>
                <a:reflection blurRad="6350" stA="28000" endPos="45500" dir="5400000" sy="-100000" algn="bl" rotWithShape="0"/>
              </a:effectLst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548998" y="7202674"/>
            <a:ext cx="526483" cy="2105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>
            <a:lvl1pPr algn="ctr">
              <a:defRPr sz="1053" b="0">
                <a:solidFill>
                  <a:schemeClr val="bg1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548998" y="7202674"/>
            <a:ext cx="1255135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Номер слайда 6"/>
          <p:cNvSpPr txBox="1">
            <a:spLocks/>
          </p:cNvSpPr>
          <p:nvPr userDrawn="1"/>
        </p:nvSpPr>
        <p:spPr>
          <a:xfrm>
            <a:off x="12889759" y="7202674"/>
            <a:ext cx="210593" cy="2105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120297" tIns="60150" rIns="120297" bIns="60150" rtlCol="0" anchor="ctr"/>
          <a:lstStyle>
            <a:defPPr>
              <a:defRPr lang="ru-RU"/>
            </a:defPPr>
            <a:lvl1pPr marL="0" algn="ctr" defTabSz="2057195" rtl="0" eaLnBrk="1" latinLnBrk="0" hangingPunct="1"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028597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57195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085792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388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42985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1584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180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28777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70" dirty="0"/>
              <a:t>&gt;</a:t>
            </a:r>
            <a:endParaRPr lang="ru-RU" sz="1170" dirty="0"/>
          </a:p>
        </p:txBody>
      </p:sp>
      <p:sp>
        <p:nvSpPr>
          <p:cNvPr id="14" name="Номер слайда 6"/>
          <p:cNvSpPr txBox="1">
            <a:spLocks/>
          </p:cNvSpPr>
          <p:nvPr userDrawn="1"/>
        </p:nvSpPr>
        <p:spPr>
          <a:xfrm>
            <a:off x="12636996" y="7202674"/>
            <a:ext cx="210593" cy="2105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lIns="120297" tIns="60150" rIns="120297" bIns="60150" rtlCol="0" anchor="ctr"/>
          <a:lstStyle>
            <a:defPPr>
              <a:defRPr lang="ru-RU"/>
            </a:defPPr>
            <a:lvl1pPr marL="0" algn="ctr" defTabSz="2057195" rtl="0" eaLnBrk="1" latinLnBrk="0" hangingPunct="1"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028597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57195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085792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4388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142985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171584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180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28777" algn="l" defTabSz="2057195" rtl="0" eaLnBrk="1" latinLnBrk="0" hangingPunct="1">
              <a:defRPr sz="4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70" dirty="0"/>
              <a:t>&lt;</a:t>
            </a:r>
            <a:endParaRPr lang="ru-RU" sz="1170" dirty="0"/>
          </a:p>
        </p:txBody>
      </p:sp>
      <p:pic>
        <p:nvPicPr>
          <p:cNvPr id="15" name="Picture 2" descr="http://www.sberbank.ru/portalserver/static/sb-bundle/images/main-logo-always.png"/>
          <p:cNvPicPr>
            <a:picLocks noChangeAspect="1" noChangeArrowheads="1"/>
          </p:cNvPicPr>
          <p:nvPr userDrawn="1"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63909" y="220294"/>
            <a:ext cx="1981016" cy="44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cyber_presentation-03.jpg"/>
          <p:cNvPicPr preferRelativeResize="0">
            <a:picLocks/>
          </p:cNvPicPr>
          <p:nvPr userDrawn="1"/>
        </p:nvPicPr>
        <p:blipFill rotWithShape="1">
          <a:blip r:embed="rId3"/>
          <a:srcRect l="6593" t="5057" r="62039" b="71884"/>
          <a:stretch/>
        </p:blipFill>
        <p:spPr>
          <a:xfrm>
            <a:off x="0" y="137270"/>
            <a:ext cx="1769180" cy="957997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Прямоугольник 15"/>
          <p:cNvSpPr/>
          <p:nvPr userDrawn="1"/>
        </p:nvSpPr>
        <p:spPr bwMode="auto">
          <a:xfrm>
            <a:off x="1684933" y="0"/>
            <a:ext cx="84247" cy="1053147"/>
          </a:xfrm>
          <a:prstGeom prst="rect">
            <a:avLst/>
          </a:prstGeom>
          <a:solidFill>
            <a:srgbClr val="D8ECE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3487" tIns="26743" rIns="53487" bIns="26743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z="1521" dirty="0"/>
          </a:p>
        </p:txBody>
      </p:sp>
    </p:spTree>
    <p:extLst>
      <p:ext uri="{BB962C8B-B14F-4D97-AF65-F5344CB8AC3E}">
        <p14:creationId xmlns:p14="http://schemas.microsoft.com/office/powerpoint/2010/main" val="11591139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9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063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0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77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1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579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 descr="Изображение выглядит как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7B75B95C-4CE4-E245-B704-FF1159756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96" b="-2"/>
          <a:stretch/>
        </p:blipFill>
        <p:spPr>
          <a:xfrm flipH="1">
            <a:off x="5501385" y="10"/>
            <a:ext cx="8333678" cy="758189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-1" y="0"/>
            <a:ext cx="6739732" cy="7118562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19" name="Shape 49">
            <a:extLst>
              <a:ext uri="{FF2B5EF4-FFF2-40B4-BE49-F238E27FC236}">
                <a16:creationId xmlns:a16="http://schemas.microsoft.com/office/drawing/2014/main" id="{4CC89A44-CA25-6F46-84C4-EA2BC02DB53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996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5932968" cy="7118562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5" name="Shape 49">
            <a:extLst>
              <a:ext uri="{FF2B5EF4-FFF2-40B4-BE49-F238E27FC236}">
                <a16:creationId xmlns:a16="http://schemas.microsoft.com/office/drawing/2014/main" id="{B51E8038-C69B-A441-A99B-A79F76ECFCE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3850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16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7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7374" y="1381548"/>
            <a:ext cx="6748090" cy="2616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marR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en-US" sz="1700" b="1" smtClean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2"/>
                </a:solidFill>
                <a:latin typeface="+mj-lt"/>
              </a:rPr>
              <a:t>Подзаголовок</a:t>
            </a:r>
            <a:endParaRPr lang="en-US" sz="17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8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333333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</p:grpSpPr>
        <p:sp>
          <p:nvSpPr>
            <p:cNvPr id="20" name="Нашивка 19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Нашивка 20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rgbClr val="333333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70507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4948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458">
          <p15:clr>
            <a:srgbClr val="FBAE40"/>
          </p15:clr>
        </p15:guide>
        <p15:guide id="2" pos="823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4734047" cy="7118562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5" name="Shape 49">
            <a:extLst>
              <a:ext uri="{FF2B5EF4-FFF2-40B4-BE49-F238E27FC236}">
                <a16:creationId xmlns:a16="http://schemas.microsoft.com/office/drawing/2014/main" id="{B51E8038-C69B-A441-A99B-A79F76ECFCE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94410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248" b="20588"/>
          <a:stretch/>
        </p:blipFill>
        <p:spPr>
          <a:xfrm>
            <a:off x="-1" y="-1"/>
            <a:ext cx="6739733" cy="7118563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6739732" cy="7118562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7" name="Shape 49">
            <a:extLst>
              <a:ext uri="{FF2B5EF4-FFF2-40B4-BE49-F238E27FC236}">
                <a16:creationId xmlns:a16="http://schemas.microsoft.com/office/drawing/2014/main" id="{4E941364-082D-694A-8121-D79FBFDC65AA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51070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A8C555B5-3073-684C-AB41-D8D127EBCA03}"/>
              </a:ext>
            </a:extLst>
          </p:cNvPr>
          <p:cNvGrpSpPr/>
          <p:nvPr userDrawn="1"/>
        </p:nvGrpSpPr>
        <p:grpSpPr>
          <a:xfrm>
            <a:off x="0" y="0"/>
            <a:ext cx="13479463" cy="7581900"/>
            <a:chOff x="173736" y="0"/>
            <a:chExt cx="13479463" cy="7581900"/>
          </a:xfrm>
        </p:grpSpPr>
        <p:pic>
          <p:nvPicPr>
            <p:cNvPr id="15" name="Рисунок 14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1258B02C-D299-244B-A031-6E52E3A9175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2" b="19437"/>
            <a:stretch/>
          </p:blipFill>
          <p:spPr>
            <a:xfrm>
              <a:off x="173736" y="4332140"/>
              <a:ext cx="3090672" cy="3249760"/>
            </a:xfrm>
            <a:prstGeom prst="rect">
              <a:avLst/>
            </a:prstGeom>
          </p:spPr>
        </p:pic>
        <p:pic>
          <p:nvPicPr>
            <p:cNvPr id="16" name="Рисунок 15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657F204E-4DE9-094E-A4B7-513628100D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2" b="19437"/>
            <a:stretch/>
          </p:blipFill>
          <p:spPr>
            <a:xfrm>
              <a:off x="173736" y="1082380"/>
              <a:ext cx="3090672" cy="3249760"/>
            </a:xfrm>
            <a:prstGeom prst="rect">
              <a:avLst/>
            </a:prstGeom>
          </p:spPr>
        </p:pic>
        <p:pic>
          <p:nvPicPr>
            <p:cNvPr id="17" name="Рисунок 16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3135D6E9-A612-7349-A1F2-0F5C2A06D70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37"/>
            <a:stretch/>
          </p:blipFill>
          <p:spPr>
            <a:xfrm>
              <a:off x="3264408" y="4332140"/>
              <a:ext cx="3264408" cy="3249760"/>
            </a:xfrm>
            <a:prstGeom prst="rect">
              <a:avLst/>
            </a:prstGeom>
          </p:spPr>
        </p:pic>
        <p:pic>
          <p:nvPicPr>
            <p:cNvPr id="18" name="Рисунок 17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54905967-7B4F-704A-ACF4-73E910751F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37"/>
            <a:stretch/>
          </p:blipFill>
          <p:spPr>
            <a:xfrm>
              <a:off x="3264408" y="1082380"/>
              <a:ext cx="3264408" cy="3249760"/>
            </a:xfrm>
            <a:prstGeom prst="rect">
              <a:avLst/>
            </a:prstGeom>
          </p:spPr>
        </p:pic>
        <p:pic>
          <p:nvPicPr>
            <p:cNvPr id="19" name="Рисунок 18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299BCD84-A9F5-264F-B53A-CEA4291A5BA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37"/>
            <a:stretch/>
          </p:blipFill>
          <p:spPr>
            <a:xfrm>
              <a:off x="6528816" y="4332140"/>
              <a:ext cx="3264408" cy="3249760"/>
            </a:xfrm>
            <a:prstGeom prst="rect">
              <a:avLst/>
            </a:prstGeom>
          </p:spPr>
        </p:pic>
        <p:pic>
          <p:nvPicPr>
            <p:cNvPr id="20" name="Рисунок 19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CB62E21B-3814-3F4A-AF61-013D61BDE3F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37"/>
            <a:stretch/>
          </p:blipFill>
          <p:spPr>
            <a:xfrm>
              <a:off x="9793224" y="4332140"/>
              <a:ext cx="3264408" cy="3249760"/>
            </a:xfrm>
            <a:prstGeom prst="rect">
              <a:avLst/>
            </a:prstGeom>
          </p:spPr>
        </p:pic>
        <p:pic>
          <p:nvPicPr>
            <p:cNvPr id="24" name="Рисунок 23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7DD40058-6141-1A4B-8393-94177D1A44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437"/>
            <a:stretch/>
          </p:blipFill>
          <p:spPr>
            <a:xfrm>
              <a:off x="10388791" y="0"/>
              <a:ext cx="3264408" cy="3249760"/>
            </a:xfrm>
            <a:prstGeom prst="rect">
              <a:avLst/>
            </a:prstGeom>
          </p:spPr>
        </p:pic>
      </p:grpSp>
      <p:sp>
        <p:nvSpPr>
          <p:cNvPr id="5" name="Rectangle 7"/>
          <p:cNvSpPr/>
          <p:nvPr userDrawn="1"/>
        </p:nvSpPr>
        <p:spPr>
          <a:xfrm>
            <a:off x="0" y="0"/>
            <a:ext cx="13479463" cy="7581900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13" name="Shape 49">
            <a:extLst>
              <a:ext uri="{FF2B5EF4-FFF2-40B4-BE49-F238E27FC236}">
                <a16:creationId xmlns:a16="http://schemas.microsoft.com/office/drawing/2014/main" id="{78597FE3-E24F-6743-B3D4-C4A78EF2BB7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Freeform: Shape 19">
            <a:extLst>
              <a:ext uri="{FF2B5EF4-FFF2-40B4-BE49-F238E27FC236}">
                <a16:creationId xmlns:a16="http://schemas.microsoft.com/office/drawing/2014/main" id="{98D113A8-B234-4A46-AB33-F8D76381ECA1}"/>
              </a:ext>
            </a:extLst>
          </p:cNvPr>
          <p:cNvSpPr/>
          <p:nvPr userDrawn="1"/>
        </p:nvSpPr>
        <p:spPr>
          <a:xfrm rot="1800000">
            <a:off x="54161" y="-1596792"/>
            <a:ext cx="15468987" cy="7133389"/>
          </a:xfrm>
          <a:custGeom>
            <a:avLst/>
            <a:gdLst>
              <a:gd name="connsiteX0" fmla="*/ 0 w 13991499"/>
              <a:gd name="connsiteY0" fmla="*/ 5207685 h 6452312"/>
              <a:gd name="connsiteX1" fmla="*/ 2615679 w 13991499"/>
              <a:gd name="connsiteY1" fmla="*/ 3697522 h 6452312"/>
              <a:gd name="connsiteX2" fmla="*/ 9004528 w 13991499"/>
              <a:gd name="connsiteY2" fmla="*/ 8919 h 6452312"/>
              <a:gd name="connsiteX3" fmla="*/ 9019976 w 13991499"/>
              <a:gd name="connsiteY3" fmla="*/ 0 h 6452312"/>
              <a:gd name="connsiteX4" fmla="*/ 11031280 w 13991499"/>
              <a:gd name="connsiteY4" fmla="*/ 0 h 6452312"/>
              <a:gd name="connsiteX5" fmla="*/ 11036430 w 13991499"/>
              <a:gd name="connsiteY5" fmla="*/ 8919 h 6452312"/>
              <a:gd name="connsiteX6" fmla="*/ 11081825 w 13991499"/>
              <a:gd name="connsiteY6" fmla="*/ 8919 h 6452312"/>
              <a:gd name="connsiteX7" fmla="*/ 13991499 w 13991499"/>
              <a:gd name="connsiteY7" fmla="*/ 5048625 h 6452312"/>
              <a:gd name="connsiteX8" fmla="*/ 11560241 w 13991499"/>
              <a:gd name="connsiteY8" fmla="*/ 6452312 h 6452312"/>
              <a:gd name="connsiteX9" fmla="*/ 718586 w 13991499"/>
              <a:gd name="connsiteY9" fmla="*/ 6452312 h 6452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991499" h="6452312">
                <a:moveTo>
                  <a:pt x="0" y="5207685"/>
                </a:moveTo>
                <a:lnTo>
                  <a:pt x="2615679" y="3697522"/>
                </a:lnTo>
                <a:lnTo>
                  <a:pt x="9004528" y="8919"/>
                </a:lnTo>
                <a:lnTo>
                  <a:pt x="9019976" y="0"/>
                </a:lnTo>
                <a:lnTo>
                  <a:pt x="11031280" y="0"/>
                </a:lnTo>
                <a:lnTo>
                  <a:pt x="11036430" y="8919"/>
                </a:lnTo>
                <a:lnTo>
                  <a:pt x="11081825" y="8919"/>
                </a:lnTo>
                <a:lnTo>
                  <a:pt x="13991499" y="5048625"/>
                </a:lnTo>
                <a:lnTo>
                  <a:pt x="11560241" y="6452312"/>
                </a:lnTo>
                <a:lnTo>
                  <a:pt x="718586" y="6452312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</p:spTree>
    <p:extLst>
      <p:ext uri="{BB962C8B-B14F-4D97-AF65-F5344CB8AC3E}">
        <p14:creationId xmlns:p14="http://schemas.microsoft.com/office/powerpoint/2010/main" val="36086419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687"/>
          <a:stretch/>
        </p:blipFill>
        <p:spPr>
          <a:xfrm>
            <a:off x="0" y="0"/>
            <a:ext cx="13479463" cy="7581900"/>
          </a:xfrm>
          <a:prstGeom prst="rect">
            <a:avLst/>
          </a:prstGeom>
        </p:spPr>
      </p:pic>
      <p:sp>
        <p:nvSpPr>
          <p:cNvPr id="5" name="Rectangle 7"/>
          <p:cNvSpPr/>
          <p:nvPr userDrawn="1"/>
        </p:nvSpPr>
        <p:spPr>
          <a:xfrm>
            <a:off x="0" y="0"/>
            <a:ext cx="13479463" cy="7581900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6" name="Freeform: Shape 19"/>
          <p:cNvSpPr/>
          <p:nvPr userDrawn="1"/>
        </p:nvSpPr>
        <p:spPr>
          <a:xfrm rot="1800000">
            <a:off x="54161" y="-1596792"/>
            <a:ext cx="15468987" cy="7133389"/>
          </a:xfrm>
          <a:custGeom>
            <a:avLst/>
            <a:gdLst>
              <a:gd name="connsiteX0" fmla="*/ 0 w 13991499"/>
              <a:gd name="connsiteY0" fmla="*/ 5207685 h 6452312"/>
              <a:gd name="connsiteX1" fmla="*/ 2615679 w 13991499"/>
              <a:gd name="connsiteY1" fmla="*/ 3697522 h 6452312"/>
              <a:gd name="connsiteX2" fmla="*/ 9004528 w 13991499"/>
              <a:gd name="connsiteY2" fmla="*/ 8919 h 6452312"/>
              <a:gd name="connsiteX3" fmla="*/ 9019976 w 13991499"/>
              <a:gd name="connsiteY3" fmla="*/ 0 h 6452312"/>
              <a:gd name="connsiteX4" fmla="*/ 11031280 w 13991499"/>
              <a:gd name="connsiteY4" fmla="*/ 0 h 6452312"/>
              <a:gd name="connsiteX5" fmla="*/ 11036430 w 13991499"/>
              <a:gd name="connsiteY5" fmla="*/ 8919 h 6452312"/>
              <a:gd name="connsiteX6" fmla="*/ 11081825 w 13991499"/>
              <a:gd name="connsiteY6" fmla="*/ 8919 h 6452312"/>
              <a:gd name="connsiteX7" fmla="*/ 13991499 w 13991499"/>
              <a:gd name="connsiteY7" fmla="*/ 5048625 h 6452312"/>
              <a:gd name="connsiteX8" fmla="*/ 11560241 w 13991499"/>
              <a:gd name="connsiteY8" fmla="*/ 6452312 h 6452312"/>
              <a:gd name="connsiteX9" fmla="*/ 718586 w 13991499"/>
              <a:gd name="connsiteY9" fmla="*/ 6452312 h 6452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991499" h="6452312">
                <a:moveTo>
                  <a:pt x="0" y="5207685"/>
                </a:moveTo>
                <a:lnTo>
                  <a:pt x="2615679" y="3697522"/>
                </a:lnTo>
                <a:lnTo>
                  <a:pt x="9004528" y="8919"/>
                </a:lnTo>
                <a:lnTo>
                  <a:pt x="9019976" y="0"/>
                </a:lnTo>
                <a:lnTo>
                  <a:pt x="11031280" y="0"/>
                </a:lnTo>
                <a:lnTo>
                  <a:pt x="11036430" y="8919"/>
                </a:lnTo>
                <a:lnTo>
                  <a:pt x="11081825" y="8919"/>
                </a:lnTo>
                <a:lnTo>
                  <a:pt x="13991499" y="5048625"/>
                </a:lnTo>
                <a:lnTo>
                  <a:pt x="11560241" y="6452312"/>
                </a:lnTo>
                <a:lnTo>
                  <a:pt x="718586" y="6452312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13" name="Shape 49">
            <a:extLst>
              <a:ext uri="{FF2B5EF4-FFF2-40B4-BE49-F238E27FC236}">
                <a16:creationId xmlns:a16="http://schemas.microsoft.com/office/drawing/2014/main" id="{78597FE3-E24F-6743-B3D4-C4A78EF2BB7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13228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1">
            <a:extLst>
              <a:ext uri="{FF2B5EF4-FFF2-40B4-BE49-F238E27FC236}">
                <a16:creationId xmlns:a16="http://schemas.microsoft.com/office/drawing/2014/main" id="{9C4B8B87-4EF0-214A-B80D-FED33D6BBBDA}"/>
              </a:ext>
            </a:extLst>
          </p:cNvPr>
          <p:cNvSpPr/>
          <p:nvPr userDrawn="1"/>
        </p:nvSpPr>
        <p:spPr>
          <a:xfrm>
            <a:off x="0" y="152408"/>
            <a:ext cx="118533" cy="152662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Shape 49">
            <a:extLst>
              <a:ext uri="{FF2B5EF4-FFF2-40B4-BE49-F238E27FC236}">
                <a16:creationId xmlns:a16="http://schemas.microsoft.com/office/drawing/2014/main" id="{E900BD2E-DFFB-9A48-854B-664E6F2D52A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2991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68266023-BA7B-2B49-A4C9-E7ABB894A4AB}"/>
              </a:ext>
            </a:extLst>
          </p:cNvPr>
          <p:cNvSpPr/>
          <p:nvPr userDrawn="1"/>
        </p:nvSpPr>
        <p:spPr>
          <a:xfrm rot="10800000">
            <a:off x="164592" y="-5"/>
            <a:ext cx="5513194" cy="7406639"/>
          </a:xfrm>
          <a:prstGeom prst="rect">
            <a:avLst/>
          </a:prstGeom>
          <a:gradFill flip="none" rotWithShape="1">
            <a:gsLst>
              <a:gs pos="94000">
                <a:srgbClr val="32B5CB"/>
              </a:gs>
              <a:gs pos="16000">
                <a:srgbClr val="7CD1BE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EAECDEC-3109-4247-85CF-DCE9CAB04E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150"/>
          <a:stretch/>
        </p:blipFill>
        <p:spPr>
          <a:xfrm flipV="1">
            <a:off x="5677785" y="-82427"/>
            <a:ext cx="7728525" cy="7489061"/>
          </a:xfrm>
          <a:prstGeom prst="rect">
            <a:avLst/>
          </a:prstGeom>
        </p:spPr>
      </p:pic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04FB0710-EA0D-A54D-B112-C78C78537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494922" y="7091311"/>
            <a:ext cx="910182" cy="403666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D3FA77A-63D1-40C4-A99F-DCCC8B75DFD0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2B1621F-FB13-144F-AED9-26E96F46D75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3537" y="97854"/>
            <a:ext cx="2765927" cy="868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13038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551AF084-B443-4C42-8F02-9D419AE3F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494922" y="7091311"/>
            <a:ext cx="910182" cy="403666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fld id="{CD3FA77A-63D1-40C4-A99F-DCCC8B75DF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051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EAECDEC-3109-4247-85CF-DCE9CAB04E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 flipV="1">
            <a:off x="5166522" y="87210"/>
            <a:ext cx="8147142" cy="7430681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593CDAD-6AA9-4846-844F-DFDF17CD0CEB}"/>
              </a:ext>
            </a:extLst>
          </p:cNvPr>
          <p:cNvSpPr/>
          <p:nvPr userDrawn="1"/>
        </p:nvSpPr>
        <p:spPr>
          <a:xfrm>
            <a:off x="0" y="0"/>
            <a:ext cx="12865608" cy="75819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>
                  <a:alpha val="66000"/>
                </a:schemeClr>
              </a:gs>
              <a:gs pos="99000">
                <a:schemeClr val="bg1">
                  <a:alpha val="0"/>
                </a:schemeClr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F62ECCD5-EDF6-EA48-9DEE-1BD1D759F4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494922" y="7091311"/>
            <a:ext cx="910182" cy="403666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D3FA77A-63D1-40C4-A99F-DCCC8B75DF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9726860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>
            <a:extLst>
              <a:ext uri="{FF2B5EF4-FFF2-40B4-BE49-F238E27FC236}">
                <a16:creationId xmlns:a16="http://schemas.microsoft.com/office/drawing/2014/main" id="{9D0D8743-56B4-1D46-B88E-0ECFCE727C8F}"/>
              </a:ext>
            </a:extLst>
          </p:cNvPr>
          <p:cNvSpPr/>
          <p:nvPr userDrawn="1"/>
        </p:nvSpPr>
        <p:spPr>
          <a:xfrm rot="10800000">
            <a:off x="164592" y="-1"/>
            <a:ext cx="6327650" cy="7581901"/>
          </a:xfrm>
          <a:prstGeom prst="rect">
            <a:avLst/>
          </a:prstGeom>
          <a:gradFill flip="none" rotWithShape="1">
            <a:gsLst>
              <a:gs pos="94000">
                <a:srgbClr val="32B5CB"/>
              </a:gs>
              <a:gs pos="16000">
                <a:srgbClr val="7CD1BE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EAECDEC-3109-4247-85CF-DCE9CAB04E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6492242" y="219456"/>
            <a:ext cx="6822630" cy="7142988"/>
          </a:xfrm>
          <a:prstGeom prst="rect">
            <a:avLst/>
          </a:prstGeom>
        </p:spPr>
      </p:pic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2F9C379-B4F5-0A4E-ABFD-7C8B26FB6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494922" y="7091311"/>
            <a:ext cx="910182" cy="403666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D3FA77A-63D1-40C4-A99F-DCCC8B75DF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8875023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68266023-BA7B-2B49-A4C9-E7ABB894A4AB}"/>
              </a:ext>
            </a:extLst>
          </p:cNvPr>
          <p:cNvSpPr/>
          <p:nvPr userDrawn="1"/>
        </p:nvSpPr>
        <p:spPr>
          <a:xfrm rot="10800000">
            <a:off x="164592" y="-5"/>
            <a:ext cx="5513194" cy="7406639"/>
          </a:xfrm>
          <a:prstGeom prst="rect">
            <a:avLst/>
          </a:prstGeom>
          <a:gradFill flip="none" rotWithShape="1">
            <a:gsLst>
              <a:gs pos="94000">
                <a:srgbClr val="32B5CB"/>
              </a:gs>
              <a:gs pos="16000">
                <a:srgbClr val="7CD1BE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EAECDEC-3109-4247-85CF-DCE9CAB04E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5677785" y="-82427"/>
            <a:ext cx="7728525" cy="7489061"/>
          </a:xfrm>
          <a:prstGeom prst="rect">
            <a:avLst/>
          </a:prstGeom>
        </p:spPr>
      </p:pic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04FB0710-EA0D-A54D-B112-C78C78537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494922" y="7091311"/>
            <a:ext cx="910182" cy="403666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D3FA77A-63D1-40C4-A99F-DCCC8B75DF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296675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Заголовок — вверху">
    <p:bg>
      <p:bgPr>
        <a:blipFill dpi="0" rotWithShape="1">
          <a:blip r:embed="rId2">
            <a:alphaModFix amt="13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16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7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7374" y="1381548"/>
            <a:ext cx="6748090" cy="2616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marR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en-US" sz="1700" b="1" smtClean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2"/>
                </a:solidFill>
                <a:latin typeface="+mj-lt"/>
              </a:rPr>
              <a:t>Подзаголовок</a:t>
            </a:r>
            <a:endParaRPr lang="en-US" sz="17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8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</p:grpSpPr>
        <p:sp>
          <p:nvSpPr>
            <p:cNvPr id="20" name="Нашивка 19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Нашивка 20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1394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458">
          <p15:clr>
            <a:srgbClr val="FBAE40"/>
          </p15:clr>
        </p15:guide>
        <p15:guide id="2" pos="823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4DF0DA58-AD8A-DC44-B505-F115F5883235}"/>
              </a:ext>
            </a:extLst>
          </p:cNvPr>
          <p:cNvSpPr/>
          <p:nvPr userDrawn="1"/>
        </p:nvSpPr>
        <p:spPr>
          <a:xfrm rot="10800000">
            <a:off x="-2" y="-2"/>
            <a:ext cx="13479463" cy="7581901"/>
          </a:xfrm>
          <a:prstGeom prst="rect">
            <a:avLst/>
          </a:prstGeom>
          <a:gradFill flip="none" rotWithShape="1">
            <a:gsLst>
              <a:gs pos="94000">
                <a:srgbClr val="32B5CB"/>
              </a:gs>
              <a:gs pos="16000">
                <a:srgbClr val="7CD1BE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dirty="0"/>
          </a:p>
        </p:txBody>
      </p:sp>
      <p:sp>
        <p:nvSpPr>
          <p:cNvPr id="7" name="doc id">
            <a:extLst>
              <a:ext uri="{FF2B5EF4-FFF2-40B4-BE49-F238E27FC236}">
                <a16:creationId xmlns:a16="http://schemas.microsoft.com/office/drawing/2014/main" id="{1FCB56E7-EB0C-7940-A7AC-EAA3D67527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156590" y="41194"/>
            <a:ext cx="988574" cy="137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11597"/>
            <a:endParaRPr lang="ru-RU" sz="100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A9E8487-EEEF-9042-A910-23BB49479C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73152" y="-3"/>
            <a:ext cx="8211150" cy="7489061"/>
          </a:xfrm>
          <a:prstGeom prst="rect">
            <a:avLst/>
          </a:prstGeom>
        </p:spPr>
      </p:pic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05A5D2F0-C3A2-7549-8184-BA1BE2264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494922" y="7091311"/>
            <a:ext cx="910182" cy="403666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fld id="{CD3FA77A-63D1-40C4-A99F-DCCC8B75DF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06644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39C9E5EE-2524-DA4F-BA61-6CE121154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494922" y="7091311"/>
            <a:ext cx="910182" cy="403666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bg1"/>
                </a:solidFill>
              </a:defRPr>
            </a:lvl1pPr>
          </a:lstStyle>
          <a:p>
            <a:fld id="{CD3FA77A-63D1-40C4-A99F-DCCC8B75DF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86041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9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48"/>
          <p:cNvSpPr>
            <a:spLocks noGrp="1"/>
          </p:cNvSpPr>
          <p:nvPr>
            <p:ph type="title" hasCustomPrompt="1"/>
          </p:nvPr>
        </p:nvSpPr>
        <p:spPr>
          <a:xfrm>
            <a:off x="477984" y="314652"/>
            <a:ext cx="7462315" cy="592400"/>
          </a:xfrm>
          <a:prstGeom prst="rect">
            <a:avLst/>
          </a:prstGeom>
          <a:noFill/>
        </p:spPr>
        <p:txBody>
          <a:bodyPr wrap="square" lIns="0" tIns="44793" rIns="89557" bIns="44793" anchor="t">
            <a:spAutoFit/>
          </a:bodyPr>
          <a:lstStyle>
            <a:lvl1pPr algn="l">
              <a:defRPr sz="3200" b="1" cap="none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FFE6C1A-B968-3C4A-ACA9-144D581FD7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13537" y="97854"/>
            <a:ext cx="2765927" cy="868191"/>
          </a:xfrm>
          <a:prstGeom prst="rect">
            <a:avLst/>
          </a:prstGeom>
        </p:spPr>
      </p:pic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539A021-6863-644B-BF47-4926C6820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494922" y="7091311"/>
            <a:ext cx="910182" cy="403666"/>
          </a:xfrm>
          <a:prstGeom prst="rect">
            <a:avLst/>
          </a:prstGeom>
        </p:spPr>
        <p:txBody>
          <a:bodyPr/>
          <a:lstStyle>
            <a:lvl1pPr algn="r"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D3FA77A-63D1-40C4-A99F-DCCC8B75DF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923679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Заголовок — вверху">
    <p:bg>
      <p:bgPr>
        <a:blipFill dpi="0" rotWithShape="1">
          <a:blip r:embed="rId2">
            <a:alphaModFix amt="3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16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8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</p:grpSpPr>
        <p:sp>
          <p:nvSpPr>
            <p:cNvPr id="20" name="Нашивка 19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Нашивка 20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76676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458">
          <p15:clr>
            <a:srgbClr val="FBAE40"/>
          </p15:clr>
        </p15:guide>
        <p15:guide id="2" pos="823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Заголовок — вверху">
    <p:bg>
      <p:bgPr>
        <a:blipFill dpi="0" rotWithShape="1">
          <a:blip r:embed="rId2">
            <a:alphaModFix amt="13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18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rgbClr val="868686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1039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458">
          <p15:clr>
            <a:srgbClr val="FBAE40"/>
          </p15:clr>
        </p15:guide>
        <p15:guide id="2" pos="823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Заголовок — вверху"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3479463" cy="7581900"/>
          </a:xfrm>
          <a:prstGeom prst="rect">
            <a:avLst/>
          </a:prstGeom>
          <a:solidFill>
            <a:schemeClr val="tx1">
              <a:lumMod val="95000"/>
              <a:lumOff val="5000"/>
              <a:alpha val="59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chemeClr val="bg1">
              <a:alpha val="67000"/>
            </a:schemeClr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chemeClr val="bg1">
              <a:alpha val="67000"/>
            </a:schemeClr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16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1" cap="none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8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20" name="Нашивка 19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1" name="Нашивка 20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chemeClr val="bg1">
              <a:alpha val="67000"/>
            </a:schemeClr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981" y="271171"/>
            <a:ext cx="2671264" cy="71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02701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458">
          <p15:clr>
            <a:srgbClr val="FBAE40"/>
          </p15:clr>
        </p15:guide>
        <p15:guide id="2" pos="823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Заголовок — вверху">
    <p:bg>
      <p:bgPr>
        <a:solidFill>
          <a:srgbClr val="8686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schemeClr val="tx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rgbClr val="333333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7374" y="1381548"/>
            <a:ext cx="6748090" cy="2616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marR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en-US" sz="1700" b="1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2"/>
                </a:solidFill>
                <a:latin typeface="+mj-lt"/>
              </a:rPr>
              <a:t>Подзаголовок</a:t>
            </a:r>
            <a:endParaRPr lang="en-US" sz="1700" b="1" dirty="0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  <a:solidFill>
            <a:srgbClr val="868686"/>
          </a:solidFill>
        </p:grpSpPr>
        <p:sp>
          <p:nvSpPr>
            <p:cNvPr id="18" name="Нашивка 17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Нашивка 18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1" name="Прямоугольник 20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2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93669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458">
          <p15:clr>
            <a:srgbClr val="FBAE40"/>
          </p15:clr>
        </p15:guide>
        <p15:guide id="3" pos="823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Заголовок — вверху">
    <p:bg>
      <p:bgPr>
        <a:solidFill>
          <a:srgbClr val="3333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5400000" algn="t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rgbClr val="333333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6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7374" y="1381548"/>
            <a:ext cx="6748090" cy="2616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marR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en-US" sz="1700" b="1" smtClean="0">
                <a:solidFill>
                  <a:schemeClr val="accent2"/>
                </a:solidFill>
              </a:defRPr>
            </a:lvl1pPr>
          </a:lstStyle>
          <a:p>
            <a:pPr marL="0" marR="0" lvl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2"/>
                </a:solidFill>
                <a:latin typeface="+mj-lt"/>
              </a:rPr>
              <a:t>Подзаголовок</a:t>
            </a:r>
            <a:endParaRPr lang="en-US" sz="1700" b="1" dirty="0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  <a:solidFill>
            <a:srgbClr val="333333"/>
          </a:solidFill>
        </p:grpSpPr>
        <p:sp>
          <p:nvSpPr>
            <p:cNvPr id="18" name="Нашивка 17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" name="Нашивка 18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1" name="Прямоугольник 20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50800" dist="38100" dir="16200000" rotWithShape="0">
              <a:prstClr val="black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2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781467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13479463" cy="1253616"/>
          </a:xfrm>
          <a:prstGeom prst="rect">
            <a:avLst/>
          </a:prstGeom>
          <a:solidFill>
            <a:srgbClr val="82BA2A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3" y="7341550"/>
            <a:ext cx="12477759" cy="240357"/>
          </a:xfrm>
          <a:prstGeom prst="rect">
            <a:avLst/>
          </a:prstGeom>
          <a:solidFill>
            <a:srgbClr val="82BA2A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sp>
        <p:nvSpPr>
          <p:cNvPr id="48" name="Shape 48"/>
          <p:cNvSpPr>
            <a:spLocks noGrp="1"/>
          </p:cNvSpPr>
          <p:nvPr>
            <p:ph type="title" hasCustomPrompt="1"/>
          </p:nvPr>
        </p:nvSpPr>
        <p:spPr>
          <a:xfrm>
            <a:off x="720000" y="427690"/>
            <a:ext cx="9115829" cy="398237"/>
          </a:xfrm>
          <a:prstGeom prst="rect">
            <a:avLst/>
          </a:prstGeom>
          <a:noFill/>
        </p:spPr>
        <p:txBody>
          <a:bodyPr lIns="0" tIns="44793" rIns="89557" bIns="44793" anchor="t">
            <a:spAutoFit/>
          </a:bodyPr>
          <a:lstStyle>
            <a:lvl1pPr algn="l">
              <a:defRPr sz="2000" b="0" cap="none">
                <a:solidFill>
                  <a:schemeClr val="bg1"/>
                </a:solidFill>
                <a:latin typeface="Arial"/>
                <a:cs typeface="Arial"/>
                <a:sym typeface="Arial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8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27374" y="1381548"/>
            <a:ext cx="6748090" cy="2616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0" marR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lang="en-US" sz="1700" b="1" smtClean="0">
                <a:solidFill>
                  <a:srgbClr val="868686"/>
                </a:solidFill>
              </a:defRPr>
            </a:lvl1pPr>
          </a:lstStyle>
          <a:p>
            <a:pPr marL="0" marR="0" lvl="0" indent="0" algn="l" defTabSz="10529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sz="1700" b="1" dirty="0">
                <a:solidFill>
                  <a:schemeClr val="accent2"/>
                </a:solidFill>
                <a:latin typeface="+mj-lt"/>
              </a:rPr>
              <a:t>Подзаголовок</a:t>
            </a:r>
            <a:endParaRPr lang="en-US" sz="17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2BA2A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182366" y="427690"/>
            <a:ext cx="358488" cy="398238"/>
            <a:chOff x="236048" y="487324"/>
            <a:chExt cx="251124" cy="278969"/>
          </a:xfrm>
        </p:grpSpPr>
        <p:sp>
          <p:nvSpPr>
            <p:cNvPr id="4" name="Нашивка 3"/>
            <p:cNvSpPr/>
            <p:nvPr userDrawn="1"/>
          </p:nvSpPr>
          <p:spPr>
            <a:xfrm>
              <a:off x="350349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Нашивка 13"/>
            <p:cNvSpPr/>
            <p:nvPr userDrawn="1"/>
          </p:nvSpPr>
          <p:spPr>
            <a:xfrm>
              <a:off x="236048" y="487324"/>
              <a:ext cx="136823" cy="278969"/>
            </a:xfrm>
            <a:prstGeom prst="chevron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639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5" name="Прямоугольник 14"/>
          <p:cNvSpPr/>
          <p:nvPr userDrawn="1"/>
        </p:nvSpPr>
        <p:spPr>
          <a:xfrm>
            <a:off x="13083245" y="7341550"/>
            <a:ext cx="396218" cy="240357"/>
          </a:xfrm>
          <a:prstGeom prst="rect">
            <a:avLst/>
          </a:prstGeom>
          <a:solidFill>
            <a:srgbClr val="82BA2A"/>
          </a:solidFill>
          <a:ln w="9525">
            <a:noFill/>
          </a:ln>
          <a:effectLst>
            <a:outerShdw blurRad="50800" dist="38100" dir="16200000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57" tIns="44793" rIns="89557" bIns="44793" rtlCol="0" anchor="ctr"/>
          <a:lstStyle/>
          <a:p>
            <a:pPr algn="ctr"/>
            <a:endParaRPr lang="ru-RU" sz="2600" dirty="0">
              <a:solidFill>
                <a:schemeClr val="tx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6000" y="266808"/>
            <a:ext cx="156904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51999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823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pn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4.png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29.xml"/><Relationship Id="rId9" Type="http://schemas.openxmlformats.org/officeDocument/2006/relationships/vmlDrawing" Target="../drawings/vmlDrawing2.v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0"/>
            </p:custDataLst>
          </p:nvPr>
        </p:nvGraphicFramePr>
        <p:xfrm>
          <a:off x="5" y="2"/>
          <a:ext cx="238787" cy="179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5" y="2"/>
                        <a:ext cx="238787" cy="179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2156590" y="41194"/>
            <a:ext cx="988574" cy="137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11597"/>
            <a:endParaRPr lang="ru-RU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2418214" y="2194927"/>
            <a:ext cx="191238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cs typeface="Arial"/>
              </a:rPr>
              <a:t>Last Modified 24.12.2013 21:27 Russian Standard Time</a:t>
            </a:r>
            <a:endParaRPr lang="ru-RU" sz="1700" dirty="0"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2525615" y="4647027"/>
            <a:ext cx="16975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cs typeface="Arial"/>
              </a:rPr>
              <a:t>Printed 17.12.2013 11:59 Russian Standard Time</a:t>
            </a:r>
            <a:endParaRPr lang="ru-RU" sz="1700" dirty="0"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84892" y="2200795"/>
            <a:ext cx="6471098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84140" y="30446"/>
            <a:ext cx="104195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700" dirty="0">
                <a:solidFill>
                  <a:srgbClr val="808080"/>
                </a:solidFill>
                <a:latin typeface="+mn-lt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9330" y="868500"/>
            <a:ext cx="12963684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700" dirty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9098" y="6973547"/>
            <a:ext cx="12858618" cy="414953"/>
            <a:chOff x="75" y="3747"/>
            <a:chExt cx="5385" cy="40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47"/>
              <a:ext cx="5385" cy="1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200" baseline="0" dirty="0">
                  <a:solidFill>
                    <a:schemeClr val="tx1"/>
                  </a:solidFill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71"/>
              <a:ext cx="4323" cy="1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88763" indent="-688763" defTabSz="1011597">
                <a:tabLst>
                  <a:tab pos="692334" algn="l"/>
                </a:tabLst>
              </a:pPr>
              <a:r>
                <a:rPr lang="ru-RU" sz="1200" baseline="0" dirty="0">
                  <a:solidFill>
                    <a:schemeClr val="tx1"/>
                  </a:solidFill>
                  <a:latin typeface="+mn-lt"/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184892" y="932967"/>
            <a:ext cx="6413789" cy="911474"/>
            <a:chOff x="915" y="521"/>
            <a:chExt cx="2686" cy="50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521"/>
              <a:ext cx="2686" cy="5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2900" b="1" dirty="0">
                  <a:cs typeface="Arial"/>
                </a:rPr>
                <a:t>Title</a:t>
              </a:r>
            </a:p>
            <a:p>
              <a:r>
                <a:rPr lang="ru-RU" sz="2900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1023849" y="7253439"/>
            <a:ext cx="15100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11597"/>
            <a:r>
              <a:rPr lang="en-US" sz="1200" baseline="0" noProof="0" dirty="0">
                <a:solidFill>
                  <a:schemeClr val="bg1"/>
                </a:solidFill>
                <a:latin typeface="+mn-lt"/>
                <a:ea typeface="+mn-ea"/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2663720" y="7224008"/>
            <a:ext cx="60280" cy="205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1011597"/>
            <a:r>
              <a:rPr lang="en-US" sz="1400" baseline="0" noProof="0" dirty="0">
                <a:solidFill>
                  <a:schemeClr val="bg1"/>
                </a:solidFill>
                <a:latin typeface="+mn-lt"/>
                <a:ea typeface="+mn-ea"/>
                <a:cs typeface="Arial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309210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  <p:sldLayoutId id="2147484033" r:id="rId12"/>
    <p:sldLayoutId id="2147484034" r:id="rId13"/>
    <p:sldLayoutId id="2147484035" r:id="rId14"/>
    <p:sldLayoutId id="2147484036" r:id="rId15"/>
    <p:sldLayoutId id="2147484037" r:id="rId16"/>
    <p:sldLayoutId id="2147484038" r:id="rId17"/>
  </p:sldLayoutIdLst>
  <p:hf hdr="0" ftr="0" dt="0"/>
  <p:txStyles>
    <p:titleStyle>
      <a:lvl1pPr algn="l" defTabSz="1011597" rtl="0" eaLnBrk="1" fontAlgn="base" hangingPunct="1">
        <a:spcBef>
          <a:spcPct val="0"/>
        </a:spcBef>
        <a:spcAft>
          <a:spcPct val="0"/>
        </a:spcAft>
        <a:tabLst>
          <a:tab pos="403568" algn="l"/>
        </a:tabLst>
        <a:defRPr sz="22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516568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1033114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549683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2066236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Arial"/>
        </a:defRPr>
      </a:lvl1pPr>
      <a:lvl2pPr marL="218821" indent="-217032" algn="l" defTabSz="1011597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700">
          <a:solidFill>
            <a:schemeClr val="tx1"/>
          </a:solidFill>
          <a:latin typeface="+mn-lt"/>
          <a:cs typeface="Arial"/>
        </a:defRPr>
      </a:lvl2pPr>
      <a:lvl3pPr marL="516568" indent="-295957" algn="l" defTabSz="1011597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700">
          <a:solidFill>
            <a:schemeClr val="tx1"/>
          </a:solidFill>
          <a:latin typeface="+mn-lt"/>
          <a:cs typeface="Arial"/>
        </a:defRPr>
      </a:lvl3pPr>
      <a:lvl4pPr marL="694129" indent="-175731" algn="l" defTabSz="1011597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700">
          <a:solidFill>
            <a:schemeClr val="tx1"/>
          </a:solidFill>
          <a:latin typeface="+mn-lt"/>
          <a:cs typeface="Arial"/>
        </a:defRPr>
      </a:lvl4pPr>
      <a:lvl5pPr marL="847125" indent="-147103" algn="l" defTabSz="1011597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cs typeface="Arial"/>
        </a:defRPr>
      </a:lvl5pPr>
      <a:lvl6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6568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3114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9683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66236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82809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99365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15912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32484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49">
            <a:extLst>
              <a:ext uri="{FF2B5EF4-FFF2-40B4-BE49-F238E27FC236}">
                <a16:creationId xmlns:a16="http://schemas.microsoft.com/office/drawing/2014/main" id="{0BCBBC81-6E4D-B64E-AC52-35E38179DE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129923" y="7348994"/>
            <a:ext cx="1301158" cy="256779"/>
          </a:xfrm>
          <a:prstGeom prst="rect">
            <a:avLst/>
          </a:prstGeom>
        </p:spPr>
        <p:txBody>
          <a:bodyPr lIns="89557" tIns="0" rIns="89557" bIns="44793"/>
          <a:lstStyle>
            <a:lvl1pPr>
              <a:defRPr sz="1400" b="1">
                <a:solidFill>
                  <a:srgbClr val="868686"/>
                </a:solidFill>
                <a:latin typeface="+mj-lt"/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2940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2" r:id="rId2"/>
    <p:sldLayoutId id="2147484066" r:id="rId3"/>
    <p:sldLayoutId id="2147484061" r:id="rId4"/>
    <p:sldLayoutId id="2147484059" r:id="rId5"/>
    <p:sldLayoutId id="2147484064" r:id="rId6"/>
    <p:sldLayoutId id="2147484049" r:id="rId7"/>
    <p:sldLayoutId id="2147484067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AB389EC-FF32-9B45-A34E-2C80A3BEF5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381515" y="2159351"/>
            <a:ext cx="1354254" cy="38971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EC370A0-034D-C648-8663-5E58B37D84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6200000">
            <a:off x="-492070" y="642483"/>
            <a:ext cx="1575363" cy="493831"/>
          </a:xfrm>
          <a:prstGeom prst="rect">
            <a:avLst/>
          </a:prstGeom>
        </p:spPr>
      </p:pic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26572821-57DF-4D7B-8E00-D4CF0B4DA9E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851957171"/>
              </p:ext>
            </p:extLst>
          </p:nvPr>
        </p:nvGraphicFramePr>
        <p:xfrm>
          <a:off x="1014677" y="-118886"/>
          <a:ext cx="5144820" cy="78277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14482">
                  <a:extLst>
                    <a:ext uri="{9D8B030D-6E8A-4147-A177-3AD203B41FA5}">
                      <a16:colId xmlns:a16="http://schemas.microsoft.com/office/drawing/2014/main" val="1573149946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1739360732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3758158737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639452218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3074398416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420256520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967830538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2692945237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1877859910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860577297"/>
                    </a:ext>
                  </a:extLst>
                </a:gridCol>
              </a:tblGrid>
              <a:tr h="7827786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332788"/>
                  </a:ext>
                </a:extLst>
              </a:tr>
            </a:tbl>
          </a:graphicData>
        </a:graphic>
      </p:graphicFrame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B2ADB791-315D-4D61-9EFC-3396A1B77DC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42135101"/>
              </p:ext>
            </p:extLst>
          </p:nvPr>
        </p:nvGraphicFramePr>
        <p:xfrm>
          <a:off x="6154414" y="-118886"/>
          <a:ext cx="5144820" cy="78277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14482">
                  <a:extLst>
                    <a:ext uri="{9D8B030D-6E8A-4147-A177-3AD203B41FA5}">
                      <a16:colId xmlns:a16="http://schemas.microsoft.com/office/drawing/2014/main" val="1573149946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1739360732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3758158737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639452218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3074398416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420256520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967830538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2692945237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1877859910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860577297"/>
                    </a:ext>
                  </a:extLst>
                </a:gridCol>
              </a:tblGrid>
              <a:tr h="7827786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332788"/>
                  </a:ext>
                </a:extLst>
              </a:tr>
            </a:tbl>
          </a:graphicData>
        </a:graphic>
      </p:graphicFrame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74059FAF-D7CC-4BD9-96E8-7750F2F3C64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04271229"/>
              </p:ext>
            </p:extLst>
          </p:nvPr>
        </p:nvGraphicFramePr>
        <p:xfrm>
          <a:off x="11297752" y="-120583"/>
          <a:ext cx="1543446" cy="78277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14482">
                  <a:extLst>
                    <a:ext uri="{9D8B030D-6E8A-4147-A177-3AD203B41FA5}">
                      <a16:colId xmlns:a16="http://schemas.microsoft.com/office/drawing/2014/main" val="1573149946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1739360732"/>
                    </a:ext>
                  </a:extLst>
                </a:gridCol>
                <a:gridCol w="514482">
                  <a:extLst>
                    <a:ext uri="{9D8B030D-6E8A-4147-A177-3AD203B41FA5}">
                      <a16:colId xmlns:a16="http://schemas.microsoft.com/office/drawing/2014/main" val="3758158737"/>
                    </a:ext>
                  </a:extLst>
                </a:gridCol>
              </a:tblGrid>
              <a:tr h="7827786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3327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3060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0"/>
            </p:custDataLst>
            <p:extLst/>
          </p:nvPr>
        </p:nvGraphicFramePr>
        <p:xfrm>
          <a:off x="5" y="2"/>
          <a:ext cx="238787" cy="1790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5" y="2"/>
                        <a:ext cx="238787" cy="1790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2156590" y="41194"/>
            <a:ext cx="988574" cy="137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11597"/>
            <a:endParaRPr lang="ru-RU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2418214" y="2194927"/>
            <a:ext cx="191238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cs typeface="Arial"/>
              </a:rPr>
              <a:t>Last Modified 24.12.2013 21:27 Russian Standard Time</a:t>
            </a:r>
            <a:endParaRPr lang="ru-RU" sz="1700" dirty="0"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2525615" y="4647027"/>
            <a:ext cx="169758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cs typeface="Arial"/>
              </a:rPr>
              <a:t>Printed 17.12.2013 11:59 Russian Standard Time</a:t>
            </a:r>
            <a:endParaRPr lang="ru-RU" sz="1700" dirty="0">
              <a:cs typeface="Arial"/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84140" y="30446"/>
            <a:ext cx="104195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700" dirty="0">
                <a:solidFill>
                  <a:srgbClr val="808080"/>
                </a:solidFill>
                <a:latin typeface="+mn-lt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9330" y="868500"/>
            <a:ext cx="12963684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700" dirty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9098" y="6973547"/>
            <a:ext cx="12858618" cy="414953"/>
            <a:chOff x="75" y="3747"/>
            <a:chExt cx="5385" cy="40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47"/>
              <a:ext cx="5385" cy="1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200" baseline="0" dirty="0">
                  <a:solidFill>
                    <a:schemeClr val="tx1"/>
                  </a:solidFill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71"/>
              <a:ext cx="4323" cy="1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88763" indent="-688763" defTabSz="1011597">
                <a:tabLst>
                  <a:tab pos="692334" algn="l"/>
                </a:tabLst>
              </a:pPr>
              <a:r>
                <a:rPr lang="ru-RU" sz="1200" baseline="0" dirty="0">
                  <a:solidFill>
                    <a:schemeClr val="tx1"/>
                  </a:solidFill>
                  <a:latin typeface="+mn-lt"/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184892" y="932967"/>
            <a:ext cx="6413789" cy="911474"/>
            <a:chOff x="915" y="521"/>
            <a:chExt cx="2686" cy="50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521"/>
              <a:ext cx="2686" cy="5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2900" b="1" dirty="0">
                  <a:cs typeface="Arial"/>
                </a:rPr>
                <a:t>Title</a:t>
              </a:r>
            </a:p>
            <a:p>
              <a:r>
                <a:rPr lang="ru-RU" sz="2900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023849" y="7253439"/>
            <a:ext cx="15100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011597"/>
            <a:r>
              <a:rPr lang="en-US" sz="1200" baseline="0" noProof="0" dirty="0">
                <a:solidFill>
                  <a:schemeClr val="bg1"/>
                </a:solidFill>
                <a:latin typeface="+mn-lt"/>
                <a:ea typeface="+mn-ea"/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663720" y="7224008"/>
            <a:ext cx="60280" cy="205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1011597"/>
            <a:r>
              <a:rPr lang="en-US" sz="1400" baseline="0" noProof="0" dirty="0">
                <a:solidFill>
                  <a:schemeClr val="bg1"/>
                </a:solidFill>
                <a:latin typeface="+mn-lt"/>
                <a:ea typeface="+mn-ea"/>
                <a:cs typeface="Arial"/>
              </a:rPr>
              <a:t>|</a:t>
            </a:r>
          </a:p>
        </p:txBody>
      </p:sp>
      <p:sp>
        <p:nvSpPr>
          <p:cNvPr id="19" name="Rectangle 7">
            <a:extLst>
              <a:ext uri="{FF2B5EF4-FFF2-40B4-BE49-F238E27FC236}">
                <a16:creationId xmlns:a16="http://schemas.microsoft.com/office/drawing/2014/main" id="{95B54B33-3CFB-EB4D-9CC0-175FFFD00267}"/>
              </a:ext>
            </a:extLst>
          </p:cNvPr>
          <p:cNvSpPr/>
          <p:nvPr userDrawn="1"/>
        </p:nvSpPr>
        <p:spPr>
          <a:xfrm rot="10800000">
            <a:off x="-2" y="-2"/>
            <a:ext cx="13479463" cy="7581901"/>
          </a:xfrm>
          <a:prstGeom prst="rect">
            <a:avLst/>
          </a:prstGeom>
          <a:gradFill flip="none" rotWithShape="1">
            <a:gsLst>
              <a:gs pos="94000">
                <a:srgbClr val="32B5CB"/>
              </a:gs>
              <a:gs pos="16000">
                <a:srgbClr val="7CD1BE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n-US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896DB8E-2781-0A48-825B-C245576413E7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098" y="-3"/>
            <a:ext cx="13462000" cy="755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711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71" r:id="rId3"/>
    <p:sldLayoutId id="2147484072" r:id="rId4"/>
    <p:sldLayoutId id="2147484073" r:id="rId5"/>
    <p:sldLayoutId id="2147484074" r:id="rId6"/>
    <p:sldLayoutId id="2147484075" r:id="rId7"/>
  </p:sldLayoutIdLst>
  <p:hf hdr="0" ftr="0" dt="0"/>
  <p:txStyles>
    <p:titleStyle>
      <a:lvl1pPr algn="l" defTabSz="1011597" rtl="0" eaLnBrk="1" fontAlgn="base" hangingPunct="1">
        <a:spcBef>
          <a:spcPct val="0"/>
        </a:spcBef>
        <a:spcAft>
          <a:spcPct val="0"/>
        </a:spcAft>
        <a:tabLst>
          <a:tab pos="403568" algn="l"/>
        </a:tabLst>
        <a:defRPr sz="22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516568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1033114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549683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2066236" algn="l" defTabSz="1011597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Arial"/>
        </a:defRPr>
      </a:lvl1pPr>
      <a:lvl2pPr marL="218821" indent="-217032" algn="l" defTabSz="1011597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700">
          <a:solidFill>
            <a:schemeClr val="tx1"/>
          </a:solidFill>
          <a:latin typeface="+mn-lt"/>
          <a:cs typeface="Arial"/>
        </a:defRPr>
      </a:lvl2pPr>
      <a:lvl3pPr marL="516568" indent="-295957" algn="l" defTabSz="1011597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700">
          <a:solidFill>
            <a:schemeClr val="tx1"/>
          </a:solidFill>
          <a:latin typeface="+mn-lt"/>
          <a:cs typeface="Arial"/>
        </a:defRPr>
      </a:lvl3pPr>
      <a:lvl4pPr marL="694129" indent="-175731" algn="l" defTabSz="1011597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700">
          <a:solidFill>
            <a:schemeClr val="tx1"/>
          </a:solidFill>
          <a:latin typeface="+mn-lt"/>
          <a:cs typeface="Arial"/>
        </a:defRPr>
      </a:lvl4pPr>
      <a:lvl5pPr marL="847125" indent="-147103" algn="l" defTabSz="1011597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cs typeface="Arial"/>
        </a:defRPr>
      </a:lvl5pPr>
      <a:lvl6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847125" indent="-147103" algn="l" defTabSz="101159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6568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3114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9683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66236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82809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99365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15912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32484" algn="l" defTabSz="10331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4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5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0.tiff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9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3.tif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audio" Target="../media/media1.amr"/><Relationship Id="rId1" Type="http://schemas.microsoft.com/office/2007/relationships/media" Target="../media/media1.amr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notesSlide" Target="../notesSlides/notesSlide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7.png"/><Relationship Id="rId5" Type="http://schemas.openxmlformats.org/officeDocument/2006/relationships/image" Target="../media/image51.png"/><Relationship Id="rId4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tiff"/><Relationship Id="rId3" Type="http://schemas.openxmlformats.org/officeDocument/2006/relationships/image" Target="../media/image61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63.png"/><Relationship Id="rId5" Type="http://schemas.microsoft.com/office/2007/relationships/hdphoto" Target="../media/hdphoto8.wdp"/><Relationship Id="rId4" Type="http://schemas.openxmlformats.org/officeDocument/2006/relationships/image" Target="../media/image62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microsoft.com/office/2007/relationships/hdphoto" Target="../media/hdphoto5.wdp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6" Type="http://schemas.microsoft.com/office/2007/relationships/hdphoto" Target="../media/hdphoto7.wdp"/><Relationship Id="rId5" Type="http://schemas.openxmlformats.org/officeDocument/2006/relationships/image" Target="../media/image39.png"/><Relationship Id="rId4" Type="http://schemas.microsoft.com/office/2007/relationships/hdphoto" Target="../media/hdphoto6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4D73AEF-888A-E44A-BD03-513534FCB1D7}"/>
              </a:ext>
            </a:extLst>
          </p:cNvPr>
          <p:cNvSpPr/>
          <p:nvPr/>
        </p:nvSpPr>
        <p:spPr>
          <a:xfrm>
            <a:off x="0" y="0"/>
            <a:ext cx="13479463" cy="75819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Прямоугольник с одним усеченным углом 15">
            <a:extLst>
              <a:ext uri="{FF2B5EF4-FFF2-40B4-BE49-F238E27FC236}">
                <a16:creationId xmlns:a16="http://schemas.microsoft.com/office/drawing/2014/main" id="{C2FC9085-3077-C143-B9DD-2BDE25F46AF6}"/>
              </a:ext>
            </a:extLst>
          </p:cNvPr>
          <p:cNvSpPr/>
          <p:nvPr/>
        </p:nvSpPr>
        <p:spPr>
          <a:xfrm flipH="1">
            <a:off x="8077199" y="4233333"/>
            <a:ext cx="5402263" cy="3348567"/>
          </a:xfrm>
          <a:prstGeom prst="snip1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C935D48-4188-9248-9385-94B9BF48052A}"/>
              </a:ext>
            </a:extLst>
          </p:cNvPr>
          <p:cNvSpPr/>
          <p:nvPr/>
        </p:nvSpPr>
        <p:spPr bwMode="auto">
          <a:xfrm>
            <a:off x="-128715" y="1756878"/>
            <a:ext cx="7748715" cy="5091928"/>
          </a:xfrm>
          <a:prstGeom prst="rect">
            <a:avLst/>
          </a:prstGeom>
          <a:noFill/>
          <a:ln w="0">
            <a:noFill/>
            <a:prstDash val="solid"/>
            <a:round/>
            <a:headEnd/>
            <a:tailEnd/>
          </a:ln>
        </p:spPr>
        <p:txBody>
          <a:bodyPr vert="horz" wrap="square" lIns="684000" tIns="26743" rIns="0" bIns="26743" numCol="1" rtlCol="0" anchor="ctr" anchorCtr="0" compatLnSpc="1">
            <a:prstTxWarp prst="textNoShape">
              <a:avLst/>
            </a:prstTxWarp>
          </a:bodyPr>
          <a:lstStyle/>
          <a:p>
            <a:pPr lvl="0" algn="l"/>
            <a:r>
              <a:rPr lang="ru-RU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ПРОСТЫЕ ПРАВИЛА БЕЗОПАСНОСТИ</a:t>
            </a:r>
          </a:p>
          <a:p>
            <a:pPr lvl="0" algn="l"/>
            <a:r>
              <a:rPr lang="ru-RU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ПРИ ИСПОЛЬЗОВАНИИ БАНКОВСКИХ ПРОДУКТОВ</a:t>
            </a:r>
            <a:r>
              <a:rPr lang="en-US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sz="48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И УСЛУГ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D69F818-1175-4545-A4A7-49F61206D31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1</a:t>
            </a:fld>
            <a:endParaRPr lang="ru-RU" dirty="0"/>
          </a:p>
        </p:txBody>
      </p:sp>
      <p:pic>
        <p:nvPicPr>
          <p:cNvPr id="12" name="Picture 2" descr="C:\Users\14505197\Алина\cyber_security\presentation\08_Лебедь\logo_white.png">
            <a:extLst>
              <a:ext uri="{FF2B5EF4-FFF2-40B4-BE49-F238E27FC236}">
                <a16:creationId xmlns:a16="http://schemas.microsoft.com/office/drawing/2014/main" id="{A01EBE63-D293-B240-975F-A97E57E99A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75" y="385484"/>
            <a:ext cx="3072732" cy="963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hape">
            <a:extLst>
              <a:ext uri="{FF2B5EF4-FFF2-40B4-BE49-F238E27FC236}">
                <a16:creationId xmlns:a16="http://schemas.microsoft.com/office/drawing/2014/main" id="{5A33C80C-2019-134D-ACB2-D4B659DA3866}"/>
              </a:ext>
            </a:extLst>
          </p:cNvPr>
          <p:cNvSpPr/>
          <p:nvPr/>
        </p:nvSpPr>
        <p:spPr>
          <a:xfrm>
            <a:off x="3918568" y="658813"/>
            <a:ext cx="2213301" cy="4165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3E5A962-1B4E-4E43-8FF3-DC02DDB6BB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532" y="658813"/>
            <a:ext cx="6917039" cy="6917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4316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D78C9C-0992-3448-BE69-4CBF657D3B61}"/>
              </a:ext>
            </a:extLst>
          </p:cNvPr>
          <p:cNvSpPr/>
          <p:nvPr/>
        </p:nvSpPr>
        <p:spPr>
          <a:xfrm>
            <a:off x="2073029" y="-682135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03B32E-2334-FC45-B9F4-2E90BA3343DE}"/>
              </a:ext>
            </a:extLst>
          </p:cNvPr>
          <p:cNvSpPr txBox="1"/>
          <p:nvPr/>
        </p:nvSpPr>
        <p:spPr>
          <a:xfrm>
            <a:off x="4924721" y="248869"/>
            <a:ext cx="7855781" cy="4785926"/>
          </a:xfrm>
          <a:prstGeom prst="rect">
            <a:avLst/>
          </a:prstGeom>
          <a:noFill/>
        </p:spPr>
        <p:txBody>
          <a:bodyPr wrap="square" lIns="216000" rtlCol="0">
            <a:spAutoFit/>
          </a:bodyPr>
          <a:lstStyle/>
          <a:p>
            <a:pPr lvl="0" algn="l" eaLnBrk="1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потеряли телефон или сменили номер мобильного, обратитесь</a:t>
            </a:r>
          </a:p>
          <a:p>
            <a:pPr lvl="0" algn="l" eaLnBrk="1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банк и </a:t>
            </a:r>
            <a:b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оператору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282E4B9-3C3E-4A4E-BB15-3418966F2FB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z="1600" smtClean="0"/>
              <a:pPr/>
              <a:t>10</a:t>
            </a:fld>
            <a:endParaRPr lang="ru-RU" sz="1600" dirty="0"/>
          </a:p>
        </p:txBody>
      </p:sp>
      <p:sp>
        <p:nvSpPr>
          <p:cNvPr id="14" name="Заголовок 4">
            <a:extLst>
              <a:ext uri="{FF2B5EF4-FFF2-40B4-BE49-F238E27FC236}">
                <a16:creationId xmlns:a16="http://schemas.microsoft.com/office/drawing/2014/main" id="{A9CCD2FD-FC15-D74C-9589-EE9430FCDF0F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54068A1-379A-104F-89EB-0367292E751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8814" y="3189990"/>
            <a:ext cx="4131688" cy="4159004"/>
          </a:xfrm>
          <a:prstGeom prst="rect">
            <a:avLst/>
          </a:prstGeom>
        </p:spPr>
      </p:pic>
      <p:sp>
        <p:nvSpPr>
          <p:cNvPr id="7" name="Shape">
            <a:extLst>
              <a:ext uri="{FF2B5EF4-FFF2-40B4-BE49-F238E27FC236}">
                <a16:creationId xmlns:a16="http://schemas.microsoft.com/office/drawing/2014/main" id="{CC6193A3-E3BF-B24F-9113-5464D3F5F4B3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702450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5603B32E-2334-FC45-B9F4-2E90BA3343DE}"/>
              </a:ext>
            </a:extLst>
          </p:cNvPr>
          <p:cNvSpPr txBox="1"/>
          <p:nvPr/>
        </p:nvSpPr>
        <p:spPr>
          <a:xfrm>
            <a:off x="4930782" y="696379"/>
            <a:ext cx="7199141" cy="2439129"/>
          </a:xfrm>
          <a:prstGeom prst="rect">
            <a:avLst/>
          </a:prstGeom>
          <a:noFill/>
        </p:spPr>
        <p:txBody>
          <a:bodyPr wrap="square" lIns="216000" rtlCol="0">
            <a:spAutoFit/>
          </a:bodyPr>
          <a:lstStyle/>
          <a:p>
            <a:pPr algn="l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 подключайте </a:t>
            </a:r>
            <a:b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мобильному банку чужие телефоны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D78C9C-0992-3448-BE69-4CBF657D3B61}"/>
              </a:ext>
            </a:extLst>
          </p:cNvPr>
          <p:cNvSpPr/>
          <p:nvPr/>
        </p:nvSpPr>
        <p:spPr>
          <a:xfrm>
            <a:off x="2073029" y="-682135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282E4B9-3C3E-4A4E-BB15-3418966F2FB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z="1600" smtClean="0"/>
              <a:pPr/>
              <a:t>11</a:t>
            </a:fld>
            <a:endParaRPr lang="ru-RU" sz="1600" dirty="0"/>
          </a:p>
        </p:txBody>
      </p:sp>
      <p:sp>
        <p:nvSpPr>
          <p:cNvPr id="14" name="Заголовок 4">
            <a:extLst>
              <a:ext uri="{FF2B5EF4-FFF2-40B4-BE49-F238E27FC236}">
                <a16:creationId xmlns:a16="http://schemas.microsoft.com/office/drawing/2014/main" id="{A9CCD2FD-FC15-D74C-9589-EE9430FCDF0F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FE6BE6F1-1C06-9342-8913-B79410C55259}"/>
              </a:ext>
            </a:extLst>
          </p:cNvPr>
          <p:cNvGrpSpPr/>
          <p:nvPr/>
        </p:nvGrpSpPr>
        <p:grpSpPr>
          <a:xfrm rot="21124882">
            <a:off x="7649278" y="4216230"/>
            <a:ext cx="2875967" cy="2894981"/>
            <a:chOff x="7576390" y="3790950"/>
            <a:chExt cx="2875967" cy="2894981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9E5FAF7-15B8-EA40-9246-EB8F10E497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79384" flipH="1">
              <a:off x="7576390" y="3790950"/>
              <a:ext cx="2875967" cy="2894981"/>
            </a:xfrm>
            <a:prstGeom prst="rect">
              <a:avLst/>
            </a:prstGeom>
          </p:spPr>
        </p:pic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E8FCD730-C7B2-7A4B-9310-9910C9469A96}"/>
                </a:ext>
              </a:extLst>
            </p:cNvPr>
            <p:cNvSpPr/>
            <p:nvPr/>
          </p:nvSpPr>
          <p:spPr>
            <a:xfrm>
              <a:off x="8589364" y="4579495"/>
              <a:ext cx="959370" cy="14465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B2D4AA44-3159-EF4F-AAFC-2ECBAAA865D9}"/>
                </a:ext>
              </a:extLst>
            </p:cNvPr>
            <p:cNvSpPr/>
            <p:nvPr/>
          </p:nvSpPr>
          <p:spPr>
            <a:xfrm>
              <a:off x="8514413" y="4219731"/>
              <a:ext cx="1073055" cy="337279"/>
            </a:xfrm>
            <a:prstGeom prst="rect">
              <a:avLst/>
            </a:prstGeom>
            <a:solidFill>
              <a:srgbClr val="EE81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0" name="Group 32">
              <a:extLst>
                <a:ext uri="{FF2B5EF4-FFF2-40B4-BE49-F238E27FC236}">
                  <a16:creationId xmlns:a16="http://schemas.microsoft.com/office/drawing/2014/main" id="{E39657EC-E022-1E41-B738-C9AE5E4DF78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610629" y="4874500"/>
              <a:ext cx="878145" cy="820391"/>
              <a:chOff x="1664" y="1156"/>
              <a:chExt cx="593" cy="554"/>
            </a:xfrm>
            <a:solidFill>
              <a:srgbClr val="EE8137"/>
            </a:solidFill>
          </p:grpSpPr>
          <p:sp>
            <p:nvSpPr>
              <p:cNvPr id="12" name="Freeform 33">
                <a:extLst>
                  <a:ext uri="{FF2B5EF4-FFF2-40B4-BE49-F238E27FC236}">
                    <a16:creationId xmlns:a16="http://schemas.microsoft.com/office/drawing/2014/main" id="{D47415AD-23E4-E340-BAC6-4FB60F9A95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64" y="1156"/>
                <a:ext cx="593" cy="554"/>
              </a:xfrm>
              <a:custGeom>
                <a:avLst/>
                <a:gdLst>
                  <a:gd name="T0" fmla="*/ 2046 w 2048"/>
                  <a:gd name="T1" fmla="*/ 726 h 1917"/>
                  <a:gd name="T2" fmla="*/ 2045 w 2048"/>
                  <a:gd name="T3" fmla="*/ 716 h 1917"/>
                  <a:gd name="T4" fmla="*/ 2024 w 2048"/>
                  <a:gd name="T5" fmla="*/ 687 h 1917"/>
                  <a:gd name="T6" fmla="*/ 1731 w 2048"/>
                  <a:gd name="T7" fmla="*/ 483 h 1917"/>
                  <a:gd name="T8" fmla="*/ 1731 w 2048"/>
                  <a:gd name="T9" fmla="*/ 265 h 1917"/>
                  <a:gd name="T10" fmla="*/ 1678 w 2048"/>
                  <a:gd name="T11" fmla="*/ 212 h 1917"/>
                  <a:gd name="T12" fmla="*/ 1341 w 2048"/>
                  <a:gd name="T13" fmla="*/ 212 h 1917"/>
                  <a:gd name="T14" fmla="*/ 1054 w 2048"/>
                  <a:gd name="T15" fmla="*/ 13 h 1917"/>
                  <a:gd name="T16" fmla="*/ 994 w 2048"/>
                  <a:gd name="T17" fmla="*/ 13 h 1917"/>
                  <a:gd name="T18" fmla="*/ 706 w 2048"/>
                  <a:gd name="T19" fmla="*/ 212 h 1917"/>
                  <a:gd name="T20" fmla="*/ 370 w 2048"/>
                  <a:gd name="T21" fmla="*/ 212 h 1917"/>
                  <a:gd name="T22" fmla="*/ 317 w 2048"/>
                  <a:gd name="T23" fmla="*/ 265 h 1917"/>
                  <a:gd name="T24" fmla="*/ 317 w 2048"/>
                  <a:gd name="T25" fmla="*/ 481 h 1917"/>
                  <a:gd name="T26" fmla="*/ 23 w 2048"/>
                  <a:gd name="T27" fmla="*/ 684 h 1917"/>
                  <a:gd name="T28" fmla="*/ 0 w 2048"/>
                  <a:gd name="T29" fmla="*/ 727 h 1917"/>
                  <a:gd name="T30" fmla="*/ 0 w 2048"/>
                  <a:gd name="T31" fmla="*/ 727 h 1917"/>
                  <a:gd name="T32" fmla="*/ 2 w 2048"/>
                  <a:gd name="T33" fmla="*/ 1864 h 1917"/>
                  <a:gd name="T34" fmla="*/ 17 w 2048"/>
                  <a:gd name="T35" fmla="*/ 1901 h 1917"/>
                  <a:gd name="T36" fmla="*/ 54 w 2048"/>
                  <a:gd name="T37" fmla="*/ 1917 h 1917"/>
                  <a:gd name="T38" fmla="*/ 54 w 2048"/>
                  <a:gd name="T39" fmla="*/ 1917 h 1917"/>
                  <a:gd name="T40" fmla="*/ 1996 w 2048"/>
                  <a:gd name="T41" fmla="*/ 1914 h 1917"/>
                  <a:gd name="T42" fmla="*/ 2048 w 2048"/>
                  <a:gd name="T43" fmla="*/ 1862 h 1917"/>
                  <a:gd name="T44" fmla="*/ 2046 w 2048"/>
                  <a:gd name="T45" fmla="*/ 726 h 1917"/>
                  <a:gd name="T46" fmla="*/ 1731 w 2048"/>
                  <a:gd name="T47" fmla="*/ 611 h 1917"/>
                  <a:gd name="T48" fmla="*/ 1898 w 2048"/>
                  <a:gd name="T49" fmla="*/ 727 h 1917"/>
                  <a:gd name="T50" fmla="*/ 1731 w 2048"/>
                  <a:gd name="T51" fmla="*/ 844 h 1917"/>
                  <a:gd name="T52" fmla="*/ 1731 w 2048"/>
                  <a:gd name="T53" fmla="*/ 611 h 1917"/>
                  <a:gd name="T54" fmla="*/ 1024 w 2048"/>
                  <a:gd name="T55" fmla="*/ 120 h 1917"/>
                  <a:gd name="T56" fmla="*/ 1157 w 2048"/>
                  <a:gd name="T57" fmla="*/ 212 h 1917"/>
                  <a:gd name="T58" fmla="*/ 890 w 2048"/>
                  <a:gd name="T59" fmla="*/ 212 h 1917"/>
                  <a:gd name="T60" fmla="*/ 1024 w 2048"/>
                  <a:gd name="T61" fmla="*/ 120 h 1917"/>
                  <a:gd name="T62" fmla="*/ 422 w 2048"/>
                  <a:gd name="T63" fmla="*/ 317 h 1917"/>
                  <a:gd name="T64" fmla="*/ 1626 w 2048"/>
                  <a:gd name="T65" fmla="*/ 317 h 1917"/>
                  <a:gd name="T66" fmla="*/ 1626 w 2048"/>
                  <a:gd name="T67" fmla="*/ 917 h 1917"/>
                  <a:gd name="T68" fmla="*/ 1222 w 2048"/>
                  <a:gd name="T69" fmla="*/ 1198 h 1917"/>
                  <a:gd name="T70" fmla="*/ 1057 w 2048"/>
                  <a:gd name="T71" fmla="*/ 1070 h 1917"/>
                  <a:gd name="T72" fmla="*/ 1056 w 2048"/>
                  <a:gd name="T73" fmla="*/ 1069 h 1917"/>
                  <a:gd name="T74" fmla="*/ 993 w 2048"/>
                  <a:gd name="T75" fmla="*/ 1070 h 1917"/>
                  <a:gd name="T76" fmla="*/ 827 w 2048"/>
                  <a:gd name="T77" fmla="*/ 1199 h 1917"/>
                  <a:gd name="T78" fmla="*/ 422 w 2048"/>
                  <a:gd name="T79" fmla="*/ 919 h 1917"/>
                  <a:gd name="T80" fmla="*/ 422 w 2048"/>
                  <a:gd name="T81" fmla="*/ 317 h 1917"/>
                  <a:gd name="T82" fmla="*/ 317 w 2048"/>
                  <a:gd name="T83" fmla="*/ 608 h 1917"/>
                  <a:gd name="T84" fmla="*/ 317 w 2048"/>
                  <a:gd name="T85" fmla="*/ 847 h 1917"/>
                  <a:gd name="T86" fmla="*/ 145 w 2048"/>
                  <a:gd name="T87" fmla="*/ 727 h 1917"/>
                  <a:gd name="T88" fmla="*/ 317 w 2048"/>
                  <a:gd name="T89" fmla="*/ 608 h 1917"/>
                  <a:gd name="T90" fmla="*/ 105 w 2048"/>
                  <a:gd name="T91" fmla="*/ 827 h 1917"/>
                  <a:gd name="T92" fmla="*/ 740 w 2048"/>
                  <a:gd name="T93" fmla="*/ 1266 h 1917"/>
                  <a:gd name="T94" fmla="*/ 106 w 2048"/>
                  <a:gd name="T95" fmla="*/ 1757 h 1917"/>
                  <a:gd name="T96" fmla="*/ 105 w 2048"/>
                  <a:gd name="T97" fmla="*/ 827 h 1917"/>
                  <a:gd name="T98" fmla="*/ 208 w 2048"/>
                  <a:gd name="T99" fmla="*/ 1812 h 1917"/>
                  <a:gd name="T100" fmla="*/ 1025 w 2048"/>
                  <a:gd name="T101" fmla="*/ 1178 h 1917"/>
                  <a:gd name="T102" fmla="*/ 1839 w 2048"/>
                  <a:gd name="T103" fmla="*/ 1809 h 1917"/>
                  <a:gd name="T104" fmla="*/ 208 w 2048"/>
                  <a:gd name="T105" fmla="*/ 1812 h 1917"/>
                  <a:gd name="T106" fmla="*/ 1309 w 2048"/>
                  <a:gd name="T107" fmla="*/ 1265 h 1917"/>
                  <a:gd name="T108" fmla="*/ 1942 w 2048"/>
                  <a:gd name="T109" fmla="*/ 825 h 1917"/>
                  <a:gd name="T110" fmla="*/ 1943 w 2048"/>
                  <a:gd name="T111" fmla="*/ 1757 h 1917"/>
                  <a:gd name="T112" fmla="*/ 1309 w 2048"/>
                  <a:gd name="T113" fmla="*/ 1265 h 1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48" h="1917">
                    <a:moveTo>
                      <a:pt x="2046" y="726"/>
                    </a:moveTo>
                    <a:cubicBezTo>
                      <a:pt x="2046" y="723"/>
                      <a:pt x="2046" y="719"/>
                      <a:pt x="2045" y="716"/>
                    </a:cubicBezTo>
                    <a:cubicBezTo>
                      <a:pt x="2041" y="705"/>
                      <a:pt x="2034" y="694"/>
                      <a:pt x="2024" y="687"/>
                    </a:cubicBezTo>
                    <a:cubicBezTo>
                      <a:pt x="1731" y="483"/>
                      <a:pt x="1731" y="483"/>
                      <a:pt x="1731" y="483"/>
                    </a:cubicBezTo>
                    <a:cubicBezTo>
                      <a:pt x="1731" y="265"/>
                      <a:pt x="1731" y="265"/>
                      <a:pt x="1731" y="265"/>
                    </a:cubicBezTo>
                    <a:cubicBezTo>
                      <a:pt x="1731" y="236"/>
                      <a:pt x="1707" y="212"/>
                      <a:pt x="1678" y="212"/>
                    </a:cubicBezTo>
                    <a:cubicBezTo>
                      <a:pt x="1341" y="212"/>
                      <a:pt x="1341" y="212"/>
                      <a:pt x="1341" y="212"/>
                    </a:cubicBezTo>
                    <a:cubicBezTo>
                      <a:pt x="1054" y="13"/>
                      <a:pt x="1054" y="13"/>
                      <a:pt x="1054" y="13"/>
                    </a:cubicBezTo>
                    <a:cubicBezTo>
                      <a:pt x="1036" y="0"/>
                      <a:pt x="1012" y="0"/>
                      <a:pt x="994" y="13"/>
                    </a:cubicBezTo>
                    <a:cubicBezTo>
                      <a:pt x="706" y="212"/>
                      <a:pt x="706" y="212"/>
                      <a:pt x="706" y="212"/>
                    </a:cubicBezTo>
                    <a:cubicBezTo>
                      <a:pt x="370" y="212"/>
                      <a:pt x="370" y="212"/>
                      <a:pt x="370" y="212"/>
                    </a:cubicBezTo>
                    <a:cubicBezTo>
                      <a:pt x="341" y="212"/>
                      <a:pt x="317" y="236"/>
                      <a:pt x="317" y="265"/>
                    </a:cubicBezTo>
                    <a:cubicBezTo>
                      <a:pt x="317" y="481"/>
                      <a:pt x="317" y="481"/>
                      <a:pt x="317" y="481"/>
                    </a:cubicBezTo>
                    <a:cubicBezTo>
                      <a:pt x="23" y="684"/>
                      <a:pt x="23" y="684"/>
                      <a:pt x="23" y="684"/>
                    </a:cubicBezTo>
                    <a:cubicBezTo>
                      <a:pt x="8" y="694"/>
                      <a:pt x="0" y="710"/>
                      <a:pt x="0" y="727"/>
                    </a:cubicBezTo>
                    <a:cubicBezTo>
                      <a:pt x="0" y="727"/>
                      <a:pt x="0" y="727"/>
                      <a:pt x="0" y="727"/>
                    </a:cubicBezTo>
                    <a:cubicBezTo>
                      <a:pt x="2" y="1864"/>
                      <a:pt x="2" y="1864"/>
                      <a:pt x="2" y="1864"/>
                    </a:cubicBezTo>
                    <a:cubicBezTo>
                      <a:pt x="2" y="1878"/>
                      <a:pt x="7" y="1892"/>
                      <a:pt x="17" y="1901"/>
                    </a:cubicBezTo>
                    <a:cubicBezTo>
                      <a:pt x="27" y="1911"/>
                      <a:pt x="40" y="1917"/>
                      <a:pt x="54" y="1917"/>
                    </a:cubicBezTo>
                    <a:cubicBezTo>
                      <a:pt x="54" y="1917"/>
                      <a:pt x="54" y="1917"/>
                      <a:pt x="54" y="1917"/>
                    </a:cubicBezTo>
                    <a:cubicBezTo>
                      <a:pt x="1996" y="1914"/>
                      <a:pt x="1996" y="1914"/>
                      <a:pt x="1996" y="1914"/>
                    </a:cubicBezTo>
                    <a:cubicBezTo>
                      <a:pt x="2025" y="1914"/>
                      <a:pt x="2048" y="1891"/>
                      <a:pt x="2048" y="1862"/>
                    </a:cubicBezTo>
                    <a:lnTo>
                      <a:pt x="2046" y="726"/>
                    </a:lnTo>
                    <a:close/>
                    <a:moveTo>
                      <a:pt x="1731" y="611"/>
                    </a:moveTo>
                    <a:cubicBezTo>
                      <a:pt x="1898" y="727"/>
                      <a:pt x="1898" y="727"/>
                      <a:pt x="1898" y="727"/>
                    </a:cubicBezTo>
                    <a:cubicBezTo>
                      <a:pt x="1731" y="844"/>
                      <a:pt x="1731" y="844"/>
                      <a:pt x="1731" y="844"/>
                    </a:cubicBezTo>
                    <a:lnTo>
                      <a:pt x="1731" y="611"/>
                    </a:lnTo>
                    <a:close/>
                    <a:moveTo>
                      <a:pt x="1024" y="120"/>
                    </a:moveTo>
                    <a:cubicBezTo>
                      <a:pt x="1157" y="212"/>
                      <a:pt x="1157" y="212"/>
                      <a:pt x="1157" y="212"/>
                    </a:cubicBezTo>
                    <a:cubicBezTo>
                      <a:pt x="890" y="212"/>
                      <a:pt x="890" y="212"/>
                      <a:pt x="890" y="212"/>
                    </a:cubicBezTo>
                    <a:lnTo>
                      <a:pt x="1024" y="120"/>
                    </a:lnTo>
                    <a:close/>
                    <a:moveTo>
                      <a:pt x="422" y="317"/>
                    </a:moveTo>
                    <a:cubicBezTo>
                      <a:pt x="1626" y="317"/>
                      <a:pt x="1626" y="317"/>
                      <a:pt x="1626" y="317"/>
                    </a:cubicBezTo>
                    <a:cubicBezTo>
                      <a:pt x="1626" y="917"/>
                      <a:pt x="1626" y="917"/>
                      <a:pt x="1626" y="917"/>
                    </a:cubicBezTo>
                    <a:cubicBezTo>
                      <a:pt x="1222" y="1198"/>
                      <a:pt x="1222" y="1198"/>
                      <a:pt x="1222" y="1198"/>
                    </a:cubicBezTo>
                    <a:cubicBezTo>
                      <a:pt x="1057" y="1070"/>
                      <a:pt x="1057" y="1070"/>
                      <a:pt x="1057" y="1070"/>
                    </a:cubicBezTo>
                    <a:cubicBezTo>
                      <a:pt x="1057" y="1070"/>
                      <a:pt x="1056" y="1070"/>
                      <a:pt x="1056" y="1069"/>
                    </a:cubicBezTo>
                    <a:cubicBezTo>
                      <a:pt x="1038" y="1056"/>
                      <a:pt x="1012" y="1055"/>
                      <a:pt x="993" y="1070"/>
                    </a:cubicBezTo>
                    <a:cubicBezTo>
                      <a:pt x="827" y="1199"/>
                      <a:pt x="827" y="1199"/>
                      <a:pt x="827" y="1199"/>
                    </a:cubicBezTo>
                    <a:cubicBezTo>
                      <a:pt x="422" y="919"/>
                      <a:pt x="422" y="919"/>
                      <a:pt x="422" y="919"/>
                    </a:cubicBezTo>
                    <a:lnTo>
                      <a:pt x="422" y="317"/>
                    </a:lnTo>
                    <a:close/>
                    <a:moveTo>
                      <a:pt x="317" y="608"/>
                    </a:moveTo>
                    <a:cubicBezTo>
                      <a:pt x="317" y="847"/>
                      <a:pt x="317" y="847"/>
                      <a:pt x="317" y="847"/>
                    </a:cubicBezTo>
                    <a:cubicBezTo>
                      <a:pt x="145" y="727"/>
                      <a:pt x="145" y="727"/>
                      <a:pt x="145" y="727"/>
                    </a:cubicBezTo>
                    <a:lnTo>
                      <a:pt x="317" y="608"/>
                    </a:lnTo>
                    <a:close/>
                    <a:moveTo>
                      <a:pt x="105" y="827"/>
                    </a:moveTo>
                    <a:cubicBezTo>
                      <a:pt x="740" y="1266"/>
                      <a:pt x="740" y="1266"/>
                      <a:pt x="740" y="1266"/>
                    </a:cubicBezTo>
                    <a:cubicBezTo>
                      <a:pt x="106" y="1757"/>
                      <a:pt x="106" y="1757"/>
                      <a:pt x="106" y="1757"/>
                    </a:cubicBezTo>
                    <a:lnTo>
                      <a:pt x="105" y="827"/>
                    </a:lnTo>
                    <a:close/>
                    <a:moveTo>
                      <a:pt x="208" y="1812"/>
                    </a:moveTo>
                    <a:cubicBezTo>
                      <a:pt x="1025" y="1178"/>
                      <a:pt x="1025" y="1178"/>
                      <a:pt x="1025" y="1178"/>
                    </a:cubicBezTo>
                    <a:cubicBezTo>
                      <a:pt x="1839" y="1809"/>
                      <a:pt x="1839" y="1809"/>
                      <a:pt x="1839" y="1809"/>
                    </a:cubicBezTo>
                    <a:lnTo>
                      <a:pt x="208" y="1812"/>
                    </a:lnTo>
                    <a:close/>
                    <a:moveTo>
                      <a:pt x="1309" y="1265"/>
                    </a:moveTo>
                    <a:cubicBezTo>
                      <a:pt x="1942" y="825"/>
                      <a:pt x="1942" y="825"/>
                      <a:pt x="1942" y="825"/>
                    </a:cubicBezTo>
                    <a:cubicBezTo>
                      <a:pt x="1943" y="1757"/>
                      <a:pt x="1943" y="1757"/>
                      <a:pt x="1943" y="1757"/>
                    </a:cubicBezTo>
                    <a:lnTo>
                      <a:pt x="1309" y="12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34">
                <a:extLst>
                  <a:ext uri="{FF2B5EF4-FFF2-40B4-BE49-F238E27FC236}">
                    <a16:creationId xmlns:a16="http://schemas.microsoft.com/office/drawing/2014/main" id="{19204285-2D0C-E14C-A2BF-51FBDD25CA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" y="1309"/>
                <a:ext cx="236" cy="30"/>
              </a:xfrm>
              <a:custGeom>
                <a:avLst/>
                <a:gdLst>
                  <a:gd name="T0" fmla="*/ 763 w 816"/>
                  <a:gd name="T1" fmla="*/ 0 h 105"/>
                  <a:gd name="T2" fmla="*/ 53 w 816"/>
                  <a:gd name="T3" fmla="*/ 0 h 105"/>
                  <a:gd name="T4" fmla="*/ 0 w 816"/>
                  <a:gd name="T5" fmla="*/ 52 h 105"/>
                  <a:gd name="T6" fmla="*/ 53 w 816"/>
                  <a:gd name="T7" fmla="*/ 105 h 105"/>
                  <a:gd name="T8" fmla="*/ 763 w 816"/>
                  <a:gd name="T9" fmla="*/ 105 h 105"/>
                  <a:gd name="T10" fmla="*/ 816 w 816"/>
                  <a:gd name="T11" fmla="*/ 52 h 105"/>
                  <a:gd name="T12" fmla="*/ 763 w 816"/>
                  <a:gd name="T13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6" h="105">
                    <a:moveTo>
                      <a:pt x="763" y="0"/>
                    </a:moveTo>
                    <a:cubicBezTo>
                      <a:pt x="53" y="0"/>
                      <a:pt x="53" y="0"/>
                      <a:pt x="53" y="0"/>
                    </a:cubicBezTo>
                    <a:cubicBezTo>
                      <a:pt x="24" y="0"/>
                      <a:pt x="0" y="23"/>
                      <a:pt x="0" y="52"/>
                    </a:cubicBezTo>
                    <a:cubicBezTo>
                      <a:pt x="0" y="81"/>
                      <a:pt x="24" y="105"/>
                      <a:pt x="53" y="105"/>
                    </a:cubicBezTo>
                    <a:cubicBezTo>
                      <a:pt x="763" y="105"/>
                      <a:pt x="763" y="105"/>
                      <a:pt x="763" y="105"/>
                    </a:cubicBezTo>
                    <a:cubicBezTo>
                      <a:pt x="792" y="105"/>
                      <a:pt x="816" y="81"/>
                      <a:pt x="816" y="52"/>
                    </a:cubicBezTo>
                    <a:cubicBezTo>
                      <a:pt x="816" y="23"/>
                      <a:pt x="792" y="0"/>
                      <a:pt x="7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35">
                <a:extLst>
                  <a:ext uri="{FF2B5EF4-FFF2-40B4-BE49-F238E27FC236}">
                    <a16:creationId xmlns:a16="http://schemas.microsoft.com/office/drawing/2014/main" id="{A8EF541E-D2A3-1748-8CB2-97B6127C2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" y="1388"/>
                <a:ext cx="236" cy="30"/>
              </a:xfrm>
              <a:custGeom>
                <a:avLst/>
                <a:gdLst>
                  <a:gd name="T0" fmla="*/ 763 w 816"/>
                  <a:gd name="T1" fmla="*/ 0 h 104"/>
                  <a:gd name="T2" fmla="*/ 53 w 816"/>
                  <a:gd name="T3" fmla="*/ 0 h 104"/>
                  <a:gd name="T4" fmla="*/ 0 w 816"/>
                  <a:gd name="T5" fmla="*/ 52 h 104"/>
                  <a:gd name="T6" fmla="*/ 53 w 816"/>
                  <a:gd name="T7" fmla="*/ 104 h 104"/>
                  <a:gd name="T8" fmla="*/ 763 w 816"/>
                  <a:gd name="T9" fmla="*/ 104 h 104"/>
                  <a:gd name="T10" fmla="*/ 816 w 816"/>
                  <a:gd name="T11" fmla="*/ 52 h 104"/>
                  <a:gd name="T12" fmla="*/ 763 w 816"/>
                  <a:gd name="T13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6" h="104">
                    <a:moveTo>
                      <a:pt x="763" y="0"/>
                    </a:moveTo>
                    <a:cubicBezTo>
                      <a:pt x="53" y="0"/>
                      <a:pt x="53" y="0"/>
                      <a:pt x="53" y="0"/>
                    </a:cubicBezTo>
                    <a:cubicBezTo>
                      <a:pt x="24" y="0"/>
                      <a:pt x="0" y="23"/>
                      <a:pt x="0" y="52"/>
                    </a:cubicBezTo>
                    <a:cubicBezTo>
                      <a:pt x="0" y="81"/>
                      <a:pt x="24" y="104"/>
                      <a:pt x="53" y="104"/>
                    </a:cubicBezTo>
                    <a:cubicBezTo>
                      <a:pt x="763" y="104"/>
                      <a:pt x="763" y="104"/>
                      <a:pt x="763" y="104"/>
                    </a:cubicBezTo>
                    <a:cubicBezTo>
                      <a:pt x="792" y="104"/>
                      <a:pt x="816" y="81"/>
                      <a:pt x="816" y="52"/>
                    </a:cubicBezTo>
                    <a:cubicBezTo>
                      <a:pt x="816" y="23"/>
                      <a:pt x="792" y="0"/>
                      <a:pt x="7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0FB54664-381D-6348-8F69-57906A34B8E2}"/>
              </a:ext>
            </a:extLst>
          </p:cNvPr>
          <p:cNvGrpSpPr/>
          <p:nvPr/>
        </p:nvGrpSpPr>
        <p:grpSpPr>
          <a:xfrm rot="475118" flipH="1">
            <a:off x="11346260" y="3056205"/>
            <a:ext cx="1671533" cy="1682584"/>
            <a:chOff x="7576390" y="3790950"/>
            <a:chExt cx="2875967" cy="2894981"/>
          </a:xfrm>
        </p:grpSpPr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4BA509A3-138E-AE43-9243-CE3B761BBE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79384" flipH="1">
              <a:off x="7576390" y="3790950"/>
              <a:ext cx="2875967" cy="2894981"/>
            </a:xfrm>
            <a:prstGeom prst="rect">
              <a:avLst/>
            </a:prstGeom>
          </p:spPr>
        </p:pic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9EE234A9-DB5E-4943-A489-E284A3DDC77B}"/>
                </a:ext>
              </a:extLst>
            </p:cNvPr>
            <p:cNvSpPr/>
            <p:nvPr/>
          </p:nvSpPr>
          <p:spPr>
            <a:xfrm>
              <a:off x="8589364" y="4579495"/>
              <a:ext cx="959370" cy="14465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62E75DF0-F655-674A-AB0F-B6B0E3ABE4F8}"/>
                </a:ext>
              </a:extLst>
            </p:cNvPr>
            <p:cNvSpPr/>
            <p:nvPr/>
          </p:nvSpPr>
          <p:spPr>
            <a:xfrm>
              <a:off x="8514413" y="4219731"/>
              <a:ext cx="1073055" cy="33727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969C7250-E6CB-CD49-BBFA-A8B196AAEFAB}"/>
              </a:ext>
            </a:extLst>
          </p:cNvPr>
          <p:cNvGrpSpPr/>
          <p:nvPr/>
        </p:nvGrpSpPr>
        <p:grpSpPr>
          <a:xfrm rot="21116794">
            <a:off x="5204463" y="3921353"/>
            <a:ext cx="1768504" cy="1780197"/>
            <a:chOff x="7576390" y="3790950"/>
            <a:chExt cx="2875967" cy="2894981"/>
          </a:xfrm>
        </p:grpSpPr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9799B215-66D9-0C4C-934B-DAA87E3B11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79384" flipH="1">
              <a:off x="7576390" y="3790950"/>
              <a:ext cx="2875967" cy="2894981"/>
            </a:xfrm>
            <a:prstGeom prst="rect">
              <a:avLst/>
            </a:prstGeom>
          </p:spPr>
        </p:pic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93EEA80F-C394-1149-98D3-A1B2387ED542}"/>
                </a:ext>
              </a:extLst>
            </p:cNvPr>
            <p:cNvSpPr/>
            <p:nvPr/>
          </p:nvSpPr>
          <p:spPr>
            <a:xfrm>
              <a:off x="8589364" y="4579495"/>
              <a:ext cx="959370" cy="14465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27A063E5-1EEA-3948-A3B4-4388D63F84B5}"/>
                </a:ext>
              </a:extLst>
            </p:cNvPr>
            <p:cNvSpPr/>
            <p:nvPr/>
          </p:nvSpPr>
          <p:spPr>
            <a:xfrm>
              <a:off x="8514413" y="4219731"/>
              <a:ext cx="1073055" cy="33727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D5D69B31-EABB-D441-BCF6-194629AFA383}"/>
              </a:ext>
            </a:extLst>
          </p:cNvPr>
          <p:cNvCxnSpPr>
            <a:cxnSpLocks/>
          </p:cNvCxnSpPr>
          <p:nvPr/>
        </p:nvCxnSpPr>
        <p:spPr>
          <a:xfrm>
            <a:off x="6902010" y="4230313"/>
            <a:ext cx="445705" cy="0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9E30D17D-744F-C24F-9188-D7F452139B7A}"/>
              </a:ext>
            </a:extLst>
          </p:cNvPr>
          <p:cNvCxnSpPr>
            <a:cxnSpLocks/>
          </p:cNvCxnSpPr>
          <p:nvPr/>
        </p:nvCxnSpPr>
        <p:spPr>
          <a:xfrm flipV="1">
            <a:off x="7347715" y="4230313"/>
            <a:ext cx="0" cy="2715485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CC4146BB-1652-FC4D-B94F-355B34131C5E}"/>
              </a:ext>
            </a:extLst>
          </p:cNvPr>
          <p:cNvCxnSpPr>
            <a:cxnSpLocks/>
          </p:cNvCxnSpPr>
          <p:nvPr/>
        </p:nvCxnSpPr>
        <p:spPr>
          <a:xfrm>
            <a:off x="7322314" y="6945798"/>
            <a:ext cx="840608" cy="0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381040F4-1445-004B-9344-BA3E31F17224}"/>
              </a:ext>
            </a:extLst>
          </p:cNvPr>
          <p:cNvCxnSpPr>
            <a:cxnSpLocks/>
          </p:cNvCxnSpPr>
          <p:nvPr/>
        </p:nvCxnSpPr>
        <p:spPr>
          <a:xfrm flipV="1">
            <a:off x="10895249" y="3656444"/>
            <a:ext cx="0" cy="2715485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0922E513-744C-5B46-B8BC-3B5524A65BFA}"/>
              </a:ext>
            </a:extLst>
          </p:cNvPr>
          <p:cNvCxnSpPr>
            <a:cxnSpLocks/>
          </p:cNvCxnSpPr>
          <p:nvPr/>
        </p:nvCxnSpPr>
        <p:spPr>
          <a:xfrm>
            <a:off x="10886782" y="3669246"/>
            <a:ext cx="445705" cy="0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05F01C71-E554-BE47-A09D-95B6064BA072}"/>
              </a:ext>
            </a:extLst>
          </p:cNvPr>
          <p:cNvCxnSpPr>
            <a:cxnSpLocks/>
          </p:cNvCxnSpPr>
          <p:nvPr/>
        </p:nvCxnSpPr>
        <p:spPr>
          <a:xfrm>
            <a:off x="10449544" y="6373997"/>
            <a:ext cx="445705" cy="0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  <a:headEnd type="triangle" w="med" len="med"/>
            <a:tailEnd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hape">
            <a:extLst>
              <a:ext uri="{FF2B5EF4-FFF2-40B4-BE49-F238E27FC236}">
                <a16:creationId xmlns:a16="http://schemas.microsoft.com/office/drawing/2014/main" id="{3667240E-4805-634D-95F2-36CDED45B61A}"/>
              </a:ext>
            </a:extLst>
          </p:cNvPr>
          <p:cNvSpPr/>
          <p:nvPr/>
        </p:nvSpPr>
        <p:spPr>
          <a:xfrm rot="531638">
            <a:off x="11955757" y="3759336"/>
            <a:ext cx="368481" cy="3823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61" y="8855"/>
                </a:moveTo>
                <a:cubicBezTo>
                  <a:pt x="21600" y="8925"/>
                  <a:pt x="21600" y="8925"/>
                  <a:pt x="21600" y="8925"/>
                </a:cubicBez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8925"/>
                  <a:pt x="0" y="8925"/>
                  <a:pt x="0" y="8925"/>
                </a:cubicBezTo>
                <a:cubicBezTo>
                  <a:pt x="9496" y="486"/>
                  <a:pt x="9496" y="486"/>
                  <a:pt x="9496" y="486"/>
                </a:cubicBezTo>
                <a:cubicBezTo>
                  <a:pt x="9652" y="347"/>
                  <a:pt x="9846" y="208"/>
                  <a:pt x="10080" y="139"/>
                </a:cubicBezTo>
                <a:cubicBezTo>
                  <a:pt x="10352" y="35"/>
                  <a:pt x="10586" y="0"/>
                  <a:pt x="10819" y="0"/>
                </a:cubicBezTo>
                <a:cubicBezTo>
                  <a:pt x="11053" y="0"/>
                  <a:pt x="11286" y="35"/>
                  <a:pt x="11520" y="139"/>
                </a:cubicBezTo>
                <a:cubicBezTo>
                  <a:pt x="11754" y="208"/>
                  <a:pt x="11948" y="347"/>
                  <a:pt x="12143" y="486"/>
                </a:cubicBezTo>
                <a:lnTo>
                  <a:pt x="21561" y="8855"/>
                </a:lnTo>
                <a:close/>
                <a:moveTo>
                  <a:pt x="6538" y="15280"/>
                </a:moveTo>
                <a:cubicBezTo>
                  <a:pt x="856" y="10210"/>
                  <a:pt x="856" y="10210"/>
                  <a:pt x="856" y="10210"/>
                </a:cubicBezTo>
                <a:cubicBezTo>
                  <a:pt x="856" y="20350"/>
                  <a:pt x="856" y="20350"/>
                  <a:pt x="856" y="20350"/>
                </a:cubicBezTo>
                <a:cubicBezTo>
                  <a:pt x="6499" y="15349"/>
                  <a:pt x="6499" y="15349"/>
                  <a:pt x="6499" y="15349"/>
                </a:cubicBezTo>
                <a:lnTo>
                  <a:pt x="6538" y="15280"/>
                </a:lnTo>
                <a:close/>
                <a:moveTo>
                  <a:pt x="1362" y="8821"/>
                </a:moveTo>
                <a:cubicBezTo>
                  <a:pt x="934" y="9203"/>
                  <a:pt x="934" y="9203"/>
                  <a:pt x="934" y="9203"/>
                </a:cubicBezTo>
                <a:cubicBezTo>
                  <a:pt x="7161" y="14724"/>
                  <a:pt x="7161" y="14724"/>
                  <a:pt x="7161" y="14724"/>
                </a:cubicBezTo>
                <a:cubicBezTo>
                  <a:pt x="9496" y="12641"/>
                  <a:pt x="9496" y="12641"/>
                  <a:pt x="9496" y="12641"/>
                </a:cubicBezTo>
                <a:cubicBezTo>
                  <a:pt x="9652" y="12502"/>
                  <a:pt x="9846" y="12363"/>
                  <a:pt x="10080" y="12293"/>
                </a:cubicBezTo>
                <a:cubicBezTo>
                  <a:pt x="10352" y="12189"/>
                  <a:pt x="10586" y="12154"/>
                  <a:pt x="10819" y="12154"/>
                </a:cubicBezTo>
                <a:cubicBezTo>
                  <a:pt x="11053" y="12154"/>
                  <a:pt x="11286" y="12189"/>
                  <a:pt x="11520" y="12293"/>
                </a:cubicBezTo>
                <a:cubicBezTo>
                  <a:pt x="11754" y="12363"/>
                  <a:pt x="11948" y="12502"/>
                  <a:pt x="12143" y="12641"/>
                </a:cubicBezTo>
                <a:cubicBezTo>
                  <a:pt x="14400" y="14724"/>
                  <a:pt x="14400" y="14724"/>
                  <a:pt x="14400" y="14724"/>
                </a:cubicBezTo>
                <a:cubicBezTo>
                  <a:pt x="20627" y="9168"/>
                  <a:pt x="20627" y="9168"/>
                  <a:pt x="20627" y="9168"/>
                </a:cubicBezTo>
                <a:cubicBezTo>
                  <a:pt x="11520" y="1042"/>
                  <a:pt x="11520" y="1042"/>
                  <a:pt x="11520" y="1042"/>
                </a:cubicBezTo>
                <a:cubicBezTo>
                  <a:pt x="11325" y="833"/>
                  <a:pt x="11092" y="764"/>
                  <a:pt x="10819" y="764"/>
                </a:cubicBezTo>
                <a:cubicBezTo>
                  <a:pt x="10547" y="764"/>
                  <a:pt x="10314" y="833"/>
                  <a:pt x="10080" y="1042"/>
                </a:cubicBezTo>
                <a:lnTo>
                  <a:pt x="1362" y="8821"/>
                </a:lnTo>
                <a:close/>
                <a:moveTo>
                  <a:pt x="1518" y="20836"/>
                </a:moveTo>
                <a:cubicBezTo>
                  <a:pt x="20082" y="20836"/>
                  <a:pt x="20082" y="20836"/>
                  <a:pt x="20082" y="20836"/>
                </a:cubicBezTo>
                <a:cubicBezTo>
                  <a:pt x="11520" y="13196"/>
                  <a:pt x="11520" y="13196"/>
                  <a:pt x="11520" y="13196"/>
                </a:cubicBezTo>
                <a:cubicBezTo>
                  <a:pt x="11325" y="13057"/>
                  <a:pt x="11092" y="12953"/>
                  <a:pt x="10819" y="12953"/>
                </a:cubicBezTo>
                <a:cubicBezTo>
                  <a:pt x="10547" y="12953"/>
                  <a:pt x="10314" y="13057"/>
                  <a:pt x="10080" y="13196"/>
                </a:cubicBezTo>
                <a:cubicBezTo>
                  <a:pt x="2024" y="20419"/>
                  <a:pt x="2024" y="20419"/>
                  <a:pt x="2024" y="20419"/>
                </a:cubicBezTo>
                <a:lnTo>
                  <a:pt x="1518" y="20836"/>
                </a:lnTo>
                <a:close/>
                <a:moveTo>
                  <a:pt x="20744" y="10487"/>
                </a:moveTo>
                <a:cubicBezTo>
                  <a:pt x="20744" y="10175"/>
                  <a:pt x="20744" y="10175"/>
                  <a:pt x="20744" y="10175"/>
                </a:cubicBezTo>
                <a:cubicBezTo>
                  <a:pt x="15023" y="15280"/>
                  <a:pt x="15023" y="15280"/>
                  <a:pt x="15023" y="15280"/>
                </a:cubicBezTo>
                <a:cubicBezTo>
                  <a:pt x="20744" y="20350"/>
                  <a:pt x="20744" y="20350"/>
                  <a:pt x="20744" y="20350"/>
                </a:cubicBezTo>
                <a:lnTo>
                  <a:pt x="20744" y="10487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defRPr sz="3200" spc="0">
                <a:solidFill>
                  <a:srgbClr val="FFFFFF"/>
                </a:solidFill>
                <a:latin typeface="Butler Stencil Medium"/>
                <a:ea typeface="Butler Stencil Medium"/>
                <a:cs typeface="Butler Stencil Medium"/>
                <a:sym typeface="Butler Stencil Medium"/>
              </a:defRPr>
            </a:pPr>
            <a:endParaRPr>
              <a:latin typeface="+mn-lt"/>
            </a:endParaRPr>
          </a:p>
        </p:txBody>
      </p:sp>
      <p:sp>
        <p:nvSpPr>
          <p:cNvPr id="48" name="Shape">
            <a:extLst>
              <a:ext uri="{FF2B5EF4-FFF2-40B4-BE49-F238E27FC236}">
                <a16:creationId xmlns:a16="http://schemas.microsoft.com/office/drawing/2014/main" id="{922F5E4B-989E-F94C-AC44-966B64613757}"/>
              </a:ext>
            </a:extLst>
          </p:cNvPr>
          <p:cNvSpPr/>
          <p:nvPr/>
        </p:nvSpPr>
        <p:spPr>
          <a:xfrm>
            <a:off x="5960383" y="4546814"/>
            <a:ext cx="379340" cy="2433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44" y="0"/>
                </a:moveTo>
                <a:cubicBezTo>
                  <a:pt x="21600" y="0"/>
                  <a:pt x="21600" y="0"/>
                  <a:pt x="21600" y="0"/>
                </a:cubicBez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0"/>
                  <a:pt x="0" y="0"/>
                  <a:pt x="0" y="0"/>
                </a:cubicBezTo>
                <a:lnTo>
                  <a:pt x="20744" y="0"/>
                </a:lnTo>
                <a:close/>
                <a:moveTo>
                  <a:pt x="856" y="1831"/>
                </a:moveTo>
                <a:cubicBezTo>
                  <a:pt x="856" y="19464"/>
                  <a:pt x="856" y="19464"/>
                  <a:pt x="856" y="19464"/>
                </a:cubicBezTo>
                <a:cubicBezTo>
                  <a:pt x="6499" y="10617"/>
                  <a:pt x="6499" y="10617"/>
                  <a:pt x="6499" y="10617"/>
                </a:cubicBezTo>
                <a:lnTo>
                  <a:pt x="856" y="1831"/>
                </a:lnTo>
                <a:close/>
                <a:moveTo>
                  <a:pt x="1518" y="20258"/>
                </a:moveTo>
                <a:cubicBezTo>
                  <a:pt x="20082" y="20258"/>
                  <a:pt x="20082" y="20258"/>
                  <a:pt x="20082" y="20258"/>
                </a:cubicBezTo>
                <a:cubicBezTo>
                  <a:pt x="14517" y="11593"/>
                  <a:pt x="14517" y="11593"/>
                  <a:pt x="14517" y="11593"/>
                </a:cubicBezTo>
                <a:cubicBezTo>
                  <a:pt x="12143" y="15315"/>
                  <a:pt x="12143" y="15315"/>
                  <a:pt x="12143" y="15315"/>
                </a:cubicBezTo>
                <a:cubicBezTo>
                  <a:pt x="11948" y="15620"/>
                  <a:pt x="11754" y="15864"/>
                  <a:pt x="11520" y="15986"/>
                </a:cubicBezTo>
                <a:cubicBezTo>
                  <a:pt x="11286" y="16108"/>
                  <a:pt x="11053" y="16169"/>
                  <a:pt x="10819" y="16169"/>
                </a:cubicBezTo>
                <a:cubicBezTo>
                  <a:pt x="10586" y="16169"/>
                  <a:pt x="10352" y="16108"/>
                  <a:pt x="10080" y="15986"/>
                </a:cubicBezTo>
                <a:cubicBezTo>
                  <a:pt x="9846" y="15864"/>
                  <a:pt x="9652" y="15620"/>
                  <a:pt x="9496" y="15315"/>
                </a:cubicBezTo>
                <a:cubicBezTo>
                  <a:pt x="7122" y="11593"/>
                  <a:pt x="7122" y="11593"/>
                  <a:pt x="7122" y="11593"/>
                </a:cubicBezTo>
                <a:lnTo>
                  <a:pt x="1518" y="20258"/>
                </a:lnTo>
                <a:close/>
                <a:moveTo>
                  <a:pt x="19888" y="1342"/>
                </a:moveTo>
                <a:cubicBezTo>
                  <a:pt x="1751" y="1342"/>
                  <a:pt x="1751" y="1342"/>
                  <a:pt x="1751" y="1342"/>
                </a:cubicBezTo>
                <a:cubicBezTo>
                  <a:pt x="10080" y="14339"/>
                  <a:pt x="10080" y="14339"/>
                  <a:pt x="10080" y="14339"/>
                </a:cubicBezTo>
                <a:cubicBezTo>
                  <a:pt x="10314" y="14705"/>
                  <a:pt x="10547" y="14827"/>
                  <a:pt x="10819" y="14827"/>
                </a:cubicBezTo>
                <a:cubicBezTo>
                  <a:pt x="11092" y="14827"/>
                  <a:pt x="11325" y="14705"/>
                  <a:pt x="11520" y="14339"/>
                </a:cubicBezTo>
                <a:lnTo>
                  <a:pt x="19888" y="1342"/>
                </a:lnTo>
                <a:close/>
                <a:moveTo>
                  <a:pt x="20744" y="19464"/>
                </a:moveTo>
                <a:cubicBezTo>
                  <a:pt x="20744" y="1831"/>
                  <a:pt x="20744" y="1831"/>
                  <a:pt x="20744" y="1831"/>
                </a:cubicBezTo>
                <a:cubicBezTo>
                  <a:pt x="15101" y="10617"/>
                  <a:pt x="15101" y="10617"/>
                  <a:pt x="15101" y="10617"/>
                </a:cubicBezTo>
                <a:lnTo>
                  <a:pt x="20744" y="19464"/>
                </a:ln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defRPr sz="3200" spc="0">
                <a:solidFill>
                  <a:srgbClr val="FFFFFF"/>
                </a:solidFill>
                <a:latin typeface="Butler Stencil Medium"/>
                <a:ea typeface="Butler Stencil Medium"/>
                <a:cs typeface="Butler Stencil Medium"/>
                <a:sym typeface="Butler Stencil Medium"/>
              </a:defRPr>
            </a:pPr>
            <a:endParaRPr>
              <a:latin typeface="+mn-lt"/>
            </a:endParaRPr>
          </a:p>
        </p:txBody>
      </p:sp>
      <p:sp>
        <p:nvSpPr>
          <p:cNvPr id="49" name="Shape">
            <a:extLst>
              <a:ext uri="{FF2B5EF4-FFF2-40B4-BE49-F238E27FC236}">
                <a16:creationId xmlns:a16="http://schemas.microsoft.com/office/drawing/2014/main" id="{052F4355-2E13-5045-8AD9-28F50FC753EE}"/>
              </a:ext>
            </a:extLst>
          </p:cNvPr>
          <p:cNvSpPr/>
          <p:nvPr/>
        </p:nvSpPr>
        <p:spPr>
          <a:xfrm rot="19835238">
            <a:off x="5945015" y="4926234"/>
            <a:ext cx="379340" cy="2433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44" y="0"/>
                </a:moveTo>
                <a:cubicBezTo>
                  <a:pt x="21600" y="0"/>
                  <a:pt x="21600" y="0"/>
                  <a:pt x="21600" y="0"/>
                </a:cubicBez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0"/>
                  <a:pt x="0" y="0"/>
                  <a:pt x="0" y="0"/>
                </a:cubicBezTo>
                <a:lnTo>
                  <a:pt x="20744" y="0"/>
                </a:lnTo>
                <a:close/>
                <a:moveTo>
                  <a:pt x="856" y="1831"/>
                </a:moveTo>
                <a:cubicBezTo>
                  <a:pt x="856" y="19464"/>
                  <a:pt x="856" y="19464"/>
                  <a:pt x="856" y="19464"/>
                </a:cubicBezTo>
                <a:cubicBezTo>
                  <a:pt x="6499" y="10617"/>
                  <a:pt x="6499" y="10617"/>
                  <a:pt x="6499" y="10617"/>
                </a:cubicBezTo>
                <a:lnTo>
                  <a:pt x="856" y="1831"/>
                </a:lnTo>
                <a:close/>
                <a:moveTo>
                  <a:pt x="1518" y="20258"/>
                </a:moveTo>
                <a:cubicBezTo>
                  <a:pt x="20082" y="20258"/>
                  <a:pt x="20082" y="20258"/>
                  <a:pt x="20082" y="20258"/>
                </a:cubicBezTo>
                <a:cubicBezTo>
                  <a:pt x="14517" y="11593"/>
                  <a:pt x="14517" y="11593"/>
                  <a:pt x="14517" y="11593"/>
                </a:cubicBezTo>
                <a:cubicBezTo>
                  <a:pt x="12143" y="15315"/>
                  <a:pt x="12143" y="15315"/>
                  <a:pt x="12143" y="15315"/>
                </a:cubicBezTo>
                <a:cubicBezTo>
                  <a:pt x="11948" y="15620"/>
                  <a:pt x="11754" y="15864"/>
                  <a:pt x="11520" y="15986"/>
                </a:cubicBezTo>
                <a:cubicBezTo>
                  <a:pt x="11286" y="16108"/>
                  <a:pt x="11053" y="16169"/>
                  <a:pt x="10819" y="16169"/>
                </a:cubicBezTo>
                <a:cubicBezTo>
                  <a:pt x="10586" y="16169"/>
                  <a:pt x="10352" y="16108"/>
                  <a:pt x="10080" y="15986"/>
                </a:cubicBezTo>
                <a:cubicBezTo>
                  <a:pt x="9846" y="15864"/>
                  <a:pt x="9652" y="15620"/>
                  <a:pt x="9496" y="15315"/>
                </a:cubicBezTo>
                <a:cubicBezTo>
                  <a:pt x="7122" y="11593"/>
                  <a:pt x="7122" y="11593"/>
                  <a:pt x="7122" y="11593"/>
                </a:cubicBezTo>
                <a:lnTo>
                  <a:pt x="1518" y="20258"/>
                </a:lnTo>
                <a:close/>
                <a:moveTo>
                  <a:pt x="19888" y="1342"/>
                </a:moveTo>
                <a:cubicBezTo>
                  <a:pt x="1751" y="1342"/>
                  <a:pt x="1751" y="1342"/>
                  <a:pt x="1751" y="1342"/>
                </a:cubicBezTo>
                <a:cubicBezTo>
                  <a:pt x="10080" y="14339"/>
                  <a:pt x="10080" y="14339"/>
                  <a:pt x="10080" y="14339"/>
                </a:cubicBezTo>
                <a:cubicBezTo>
                  <a:pt x="10314" y="14705"/>
                  <a:pt x="10547" y="14827"/>
                  <a:pt x="10819" y="14827"/>
                </a:cubicBezTo>
                <a:cubicBezTo>
                  <a:pt x="11092" y="14827"/>
                  <a:pt x="11325" y="14705"/>
                  <a:pt x="11520" y="14339"/>
                </a:cubicBezTo>
                <a:lnTo>
                  <a:pt x="19888" y="1342"/>
                </a:lnTo>
                <a:close/>
                <a:moveTo>
                  <a:pt x="20744" y="19464"/>
                </a:moveTo>
                <a:cubicBezTo>
                  <a:pt x="20744" y="1831"/>
                  <a:pt x="20744" y="1831"/>
                  <a:pt x="20744" y="1831"/>
                </a:cubicBezTo>
                <a:cubicBezTo>
                  <a:pt x="15101" y="10617"/>
                  <a:pt x="15101" y="10617"/>
                  <a:pt x="15101" y="10617"/>
                </a:cubicBezTo>
                <a:lnTo>
                  <a:pt x="20744" y="19464"/>
                </a:ln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defRPr sz="3200" spc="0">
                <a:solidFill>
                  <a:srgbClr val="FFFFFF"/>
                </a:solidFill>
                <a:latin typeface="Butler Stencil Medium"/>
                <a:ea typeface="Butler Stencil Medium"/>
                <a:cs typeface="Butler Stencil Medium"/>
                <a:sym typeface="Butler Stencil Medium"/>
              </a:defRPr>
            </a:pPr>
            <a:endParaRPr>
              <a:latin typeface="+mn-lt"/>
            </a:endParaRPr>
          </a:p>
        </p:txBody>
      </p:sp>
      <p:sp>
        <p:nvSpPr>
          <p:cNvPr id="31" name="Shape">
            <a:extLst>
              <a:ext uri="{FF2B5EF4-FFF2-40B4-BE49-F238E27FC236}">
                <a16:creationId xmlns:a16="http://schemas.microsoft.com/office/drawing/2014/main" id="{905B5686-401B-BB4E-BCA8-5D8A9F2E8817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195751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5603B32E-2334-FC45-B9F4-2E90BA3343DE}"/>
              </a:ext>
            </a:extLst>
          </p:cNvPr>
          <p:cNvSpPr txBox="1"/>
          <p:nvPr/>
        </p:nvSpPr>
        <p:spPr>
          <a:xfrm>
            <a:off x="5132457" y="294654"/>
            <a:ext cx="8824975" cy="3221395"/>
          </a:xfrm>
          <a:prstGeom prst="rect">
            <a:avLst/>
          </a:prstGeom>
          <a:noFill/>
        </p:spPr>
        <p:txBody>
          <a:bodyPr wrap="square" lIns="216000" rtlCol="0">
            <a:spAutoFit/>
          </a:bodyPr>
          <a:lstStyle/>
          <a:p>
            <a:pPr algn="l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ключайте </a:t>
            </a:r>
          </a:p>
          <a:p>
            <a:pPr algn="l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ый банк только </a:t>
            </a:r>
            <a:b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оформленному на Вас номеру телефона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D78C9C-0992-3448-BE69-4CBF657D3B61}"/>
              </a:ext>
            </a:extLst>
          </p:cNvPr>
          <p:cNvSpPr/>
          <p:nvPr/>
        </p:nvSpPr>
        <p:spPr>
          <a:xfrm>
            <a:off x="2073029" y="-682135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282E4B9-3C3E-4A4E-BB15-3418966F2FB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z="1600" smtClean="0"/>
              <a:pPr/>
              <a:t>12</a:t>
            </a:fld>
            <a:endParaRPr lang="ru-RU" sz="1600" dirty="0"/>
          </a:p>
        </p:txBody>
      </p:sp>
      <p:sp>
        <p:nvSpPr>
          <p:cNvPr id="14" name="Заголовок 4">
            <a:extLst>
              <a:ext uri="{FF2B5EF4-FFF2-40B4-BE49-F238E27FC236}">
                <a16:creationId xmlns:a16="http://schemas.microsoft.com/office/drawing/2014/main" id="{A9CCD2FD-FC15-D74C-9589-EE9430FCDF0F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FE6BE6F1-1C06-9342-8913-B79410C55259}"/>
              </a:ext>
            </a:extLst>
          </p:cNvPr>
          <p:cNvGrpSpPr/>
          <p:nvPr/>
        </p:nvGrpSpPr>
        <p:grpSpPr>
          <a:xfrm rot="21124882">
            <a:off x="7649278" y="4216230"/>
            <a:ext cx="2875967" cy="2894981"/>
            <a:chOff x="7576390" y="3790950"/>
            <a:chExt cx="2875967" cy="2894981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9E5FAF7-15B8-EA40-9246-EB8F10E497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79384" flipH="1">
              <a:off x="7576390" y="3790950"/>
              <a:ext cx="2875967" cy="2894981"/>
            </a:xfrm>
            <a:prstGeom prst="rect">
              <a:avLst/>
            </a:prstGeom>
          </p:spPr>
        </p:pic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E8FCD730-C7B2-7A4B-9310-9910C9469A96}"/>
                </a:ext>
              </a:extLst>
            </p:cNvPr>
            <p:cNvSpPr/>
            <p:nvPr/>
          </p:nvSpPr>
          <p:spPr>
            <a:xfrm>
              <a:off x="8589364" y="4579495"/>
              <a:ext cx="959370" cy="14465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B2D4AA44-3159-EF4F-AAFC-2ECBAAA865D9}"/>
                </a:ext>
              </a:extLst>
            </p:cNvPr>
            <p:cNvSpPr/>
            <p:nvPr/>
          </p:nvSpPr>
          <p:spPr>
            <a:xfrm>
              <a:off x="8514413" y="4219731"/>
              <a:ext cx="1073055" cy="337279"/>
            </a:xfrm>
            <a:prstGeom prst="rect">
              <a:avLst/>
            </a:prstGeom>
            <a:solidFill>
              <a:srgbClr val="EE81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0" name="Group 32">
              <a:extLst>
                <a:ext uri="{FF2B5EF4-FFF2-40B4-BE49-F238E27FC236}">
                  <a16:creationId xmlns:a16="http://schemas.microsoft.com/office/drawing/2014/main" id="{E39657EC-E022-1E41-B738-C9AE5E4DF78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610629" y="4874500"/>
              <a:ext cx="878145" cy="820391"/>
              <a:chOff x="1664" y="1156"/>
              <a:chExt cx="593" cy="554"/>
            </a:xfrm>
            <a:solidFill>
              <a:srgbClr val="EE8137"/>
            </a:solidFill>
          </p:grpSpPr>
          <p:sp>
            <p:nvSpPr>
              <p:cNvPr id="12" name="Freeform 33">
                <a:extLst>
                  <a:ext uri="{FF2B5EF4-FFF2-40B4-BE49-F238E27FC236}">
                    <a16:creationId xmlns:a16="http://schemas.microsoft.com/office/drawing/2014/main" id="{D47415AD-23E4-E340-BAC6-4FB60F9A95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64" y="1156"/>
                <a:ext cx="593" cy="554"/>
              </a:xfrm>
              <a:custGeom>
                <a:avLst/>
                <a:gdLst>
                  <a:gd name="T0" fmla="*/ 2046 w 2048"/>
                  <a:gd name="T1" fmla="*/ 726 h 1917"/>
                  <a:gd name="T2" fmla="*/ 2045 w 2048"/>
                  <a:gd name="T3" fmla="*/ 716 h 1917"/>
                  <a:gd name="T4" fmla="*/ 2024 w 2048"/>
                  <a:gd name="T5" fmla="*/ 687 h 1917"/>
                  <a:gd name="T6" fmla="*/ 1731 w 2048"/>
                  <a:gd name="T7" fmla="*/ 483 h 1917"/>
                  <a:gd name="T8" fmla="*/ 1731 w 2048"/>
                  <a:gd name="T9" fmla="*/ 265 h 1917"/>
                  <a:gd name="T10" fmla="*/ 1678 w 2048"/>
                  <a:gd name="T11" fmla="*/ 212 h 1917"/>
                  <a:gd name="T12" fmla="*/ 1341 w 2048"/>
                  <a:gd name="T13" fmla="*/ 212 h 1917"/>
                  <a:gd name="T14" fmla="*/ 1054 w 2048"/>
                  <a:gd name="T15" fmla="*/ 13 h 1917"/>
                  <a:gd name="T16" fmla="*/ 994 w 2048"/>
                  <a:gd name="T17" fmla="*/ 13 h 1917"/>
                  <a:gd name="T18" fmla="*/ 706 w 2048"/>
                  <a:gd name="T19" fmla="*/ 212 h 1917"/>
                  <a:gd name="T20" fmla="*/ 370 w 2048"/>
                  <a:gd name="T21" fmla="*/ 212 h 1917"/>
                  <a:gd name="T22" fmla="*/ 317 w 2048"/>
                  <a:gd name="T23" fmla="*/ 265 h 1917"/>
                  <a:gd name="T24" fmla="*/ 317 w 2048"/>
                  <a:gd name="T25" fmla="*/ 481 h 1917"/>
                  <a:gd name="T26" fmla="*/ 23 w 2048"/>
                  <a:gd name="T27" fmla="*/ 684 h 1917"/>
                  <a:gd name="T28" fmla="*/ 0 w 2048"/>
                  <a:gd name="T29" fmla="*/ 727 h 1917"/>
                  <a:gd name="T30" fmla="*/ 0 w 2048"/>
                  <a:gd name="T31" fmla="*/ 727 h 1917"/>
                  <a:gd name="T32" fmla="*/ 2 w 2048"/>
                  <a:gd name="T33" fmla="*/ 1864 h 1917"/>
                  <a:gd name="T34" fmla="*/ 17 w 2048"/>
                  <a:gd name="T35" fmla="*/ 1901 h 1917"/>
                  <a:gd name="T36" fmla="*/ 54 w 2048"/>
                  <a:gd name="T37" fmla="*/ 1917 h 1917"/>
                  <a:gd name="T38" fmla="*/ 54 w 2048"/>
                  <a:gd name="T39" fmla="*/ 1917 h 1917"/>
                  <a:gd name="T40" fmla="*/ 1996 w 2048"/>
                  <a:gd name="T41" fmla="*/ 1914 h 1917"/>
                  <a:gd name="T42" fmla="*/ 2048 w 2048"/>
                  <a:gd name="T43" fmla="*/ 1862 h 1917"/>
                  <a:gd name="T44" fmla="*/ 2046 w 2048"/>
                  <a:gd name="T45" fmla="*/ 726 h 1917"/>
                  <a:gd name="T46" fmla="*/ 1731 w 2048"/>
                  <a:gd name="T47" fmla="*/ 611 h 1917"/>
                  <a:gd name="T48" fmla="*/ 1898 w 2048"/>
                  <a:gd name="T49" fmla="*/ 727 h 1917"/>
                  <a:gd name="T50" fmla="*/ 1731 w 2048"/>
                  <a:gd name="T51" fmla="*/ 844 h 1917"/>
                  <a:gd name="T52" fmla="*/ 1731 w 2048"/>
                  <a:gd name="T53" fmla="*/ 611 h 1917"/>
                  <a:gd name="T54" fmla="*/ 1024 w 2048"/>
                  <a:gd name="T55" fmla="*/ 120 h 1917"/>
                  <a:gd name="T56" fmla="*/ 1157 w 2048"/>
                  <a:gd name="T57" fmla="*/ 212 h 1917"/>
                  <a:gd name="T58" fmla="*/ 890 w 2048"/>
                  <a:gd name="T59" fmla="*/ 212 h 1917"/>
                  <a:gd name="T60" fmla="*/ 1024 w 2048"/>
                  <a:gd name="T61" fmla="*/ 120 h 1917"/>
                  <a:gd name="T62" fmla="*/ 422 w 2048"/>
                  <a:gd name="T63" fmla="*/ 317 h 1917"/>
                  <a:gd name="T64" fmla="*/ 1626 w 2048"/>
                  <a:gd name="T65" fmla="*/ 317 h 1917"/>
                  <a:gd name="T66" fmla="*/ 1626 w 2048"/>
                  <a:gd name="T67" fmla="*/ 917 h 1917"/>
                  <a:gd name="T68" fmla="*/ 1222 w 2048"/>
                  <a:gd name="T69" fmla="*/ 1198 h 1917"/>
                  <a:gd name="T70" fmla="*/ 1057 w 2048"/>
                  <a:gd name="T71" fmla="*/ 1070 h 1917"/>
                  <a:gd name="T72" fmla="*/ 1056 w 2048"/>
                  <a:gd name="T73" fmla="*/ 1069 h 1917"/>
                  <a:gd name="T74" fmla="*/ 993 w 2048"/>
                  <a:gd name="T75" fmla="*/ 1070 h 1917"/>
                  <a:gd name="T76" fmla="*/ 827 w 2048"/>
                  <a:gd name="T77" fmla="*/ 1199 h 1917"/>
                  <a:gd name="T78" fmla="*/ 422 w 2048"/>
                  <a:gd name="T79" fmla="*/ 919 h 1917"/>
                  <a:gd name="T80" fmla="*/ 422 w 2048"/>
                  <a:gd name="T81" fmla="*/ 317 h 1917"/>
                  <a:gd name="T82" fmla="*/ 317 w 2048"/>
                  <a:gd name="T83" fmla="*/ 608 h 1917"/>
                  <a:gd name="T84" fmla="*/ 317 w 2048"/>
                  <a:gd name="T85" fmla="*/ 847 h 1917"/>
                  <a:gd name="T86" fmla="*/ 145 w 2048"/>
                  <a:gd name="T87" fmla="*/ 727 h 1917"/>
                  <a:gd name="T88" fmla="*/ 317 w 2048"/>
                  <a:gd name="T89" fmla="*/ 608 h 1917"/>
                  <a:gd name="T90" fmla="*/ 105 w 2048"/>
                  <a:gd name="T91" fmla="*/ 827 h 1917"/>
                  <a:gd name="T92" fmla="*/ 740 w 2048"/>
                  <a:gd name="T93" fmla="*/ 1266 h 1917"/>
                  <a:gd name="T94" fmla="*/ 106 w 2048"/>
                  <a:gd name="T95" fmla="*/ 1757 h 1917"/>
                  <a:gd name="T96" fmla="*/ 105 w 2048"/>
                  <a:gd name="T97" fmla="*/ 827 h 1917"/>
                  <a:gd name="T98" fmla="*/ 208 w 2048"/>
                  <a:gd name="T99" fmla="*/ 1812 h 1917"/>
                  <a:gd name="T100" fmla="*/ 1025 w 2048"/>
                  <a:gd name="T101" fmla="*/ 1178 h 1917"/>
                  <a:gd name="T102" fmla="*/ 1839 w 2048"/>
                  <a:gd name="T103" fmla="*/ 1809 h 1917"/>
                  <a:gd name="T104" fmla="*/ 208 w 2048"/>
                  <a:gd name="T105" fmla="*/ 1812 h 1917"/>
                  <a:gd name="T106" fmla="*/ 1309 w 2048"/>
                  <a:gd name="T107" fmla="*/ 1265 h 1917"/>
                  <a:gd name="T108" fmla="*/ 1942 w 2048"/>
                  <a:gd name="T109" fmla="*/ 825 h 1917"/>
                  <a:gd name="T110" fmla="*/ 1943 w 2048"/>
                  <a:gd name="T111" fmla="*/ 1757 h 1917"/>
                  <a:gd name="T112" fmla="*/ 1309 w 2048"/>
                  <a:gd name="T113" fmla="*/ 1265 h 19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48" h="1917">
                    <a:moveTo>
                      <a:pt x="2046" y="726"/>
                    </a:moveTo>
                    <a:cubicBezTo>
                      <a:pt x="2046" y="723"/>
                      <a:pt x="2046" y="719"/>
                      <a:pt x="2045" y="716"/>
                    </a:cubicBezTo>
                    <a:cubicBezTo>
                      <a:pt x="2041" y="705"/>
                      <a:pt x="2034" y="694"/>
                      <a:pt x="2024" y="687"/>
                    </a:cubicBezTo>
                    <a:cubicBezTo>
                      <a:pt x="1731" y="483"/>
                      <a:pt x="1731" y="483"/>
                      <a:pt x="1731" y="483"/>
                    </a:cubicBezTo>
                    <a:cubicBezTo>
                      <a:pt x="1731" y="265"/>
                      <a:pt x="1731" y="265"/>
                      <a:pt x="1731" y="265"/>
                    </a:cubicBezTo>
                    <a:cubicBezTo>
                      <a:pt x="1731" y="236"/>
                      <a:pt x="1707" y="212"/>
                      <a:pt x="1678" y="212"/>
                    </a:cubicBezTo>
                    <a:cubicBezTo>
                      <a:pt x="1341" y="212"/>
                      <a:pt x="1341" y="212"/>
                      <a:pt x="1341" y="212"/>
                    </a:cubicBezTo>
                    <a:cubicBezTo>
                      <a:pt x="1054" y="13"/>
                      <a:pt x="1054" y="13"/>
                      <a:pt x="1054" y="13"/>
                    </a:cubicBezTo>
                    <a:cubicBezTo>
                      <a:pt x="1036" y="0"/>
                      <a:pt x="1012" y="0"/>
                      <a:pt x="994" y="13"/>
                    </a:cubicBezTo>
                    <a:cubicBezTo>
                      <a:pt x="706" y="212"/>
                      <a:pt x="706" y="212"/>
                      <a:pt x="706" y="212"/>
                    </a:cubicBezTo>
                    <a:cubicBezTo>
                      <a:pt x="370" y="212"/>
                      <a:pt x="370" y="212"/>
                      <a:pt x="370" y="212"/>
                    </a:cubicBezTo>
                    <a:cubicBezTo>
                      <a:pt x="341" y="212"/>
                      <a:pt x="317" y="236"/>
                      <a:pt x="317" y="265"/>
                    </a:cubicBezTo>
                    <a:cubicBezTo>
                      <a:pt x="317" y="481"/>
                      <a:pt x="317" y="481"/>
                      <a:pt x="317" y="481"/>
                    </a:cubicBezTo>
                    <a:cubicBezTo>
                      <a:pt x="23" y="684"/>
                      <a:pt x="23" y="684"/>
                      <a:pt x="23" y="684"/>
                    </a:cubicBezTo>
                    <a:cubicBezTo>
                      <a:pt x="8" y="694"/>
                      <a:pt x="0" y="710"/>
                      <a:pt x="0" y="727"/>
                    </a:cubicBezTo>
                    <a:cubicBezTo>
                      <a:pt x="0" y="727"/>
                      <a:pt x="0" y="727"/>
                      <a:pt x="0" y="727"/>
                    </a:cubicBezTo>
                    <a:cubicBezTo>
                      <a:pt x="2" y="1864"/>
                      <a:pt x="2" y="1864"/>
                      <a:pt x="2" y="1864"/>
                    </a:cubicBezTo>
                    <a:cubicBezTo>
                      <a:pt x="2" y="1878"/>
                      <a:pt x="7" y="1892"/>
                      <a:pt x="17" y="1901"/>
                    </a:cubicBezTo>
                    <a:cubicBezTo>
                      <a:pt x="27" y="1911"/>
                      <a:pt x="40" y="1917"/>
                      <a:pt x="54" y="1917"/>
                    </a:cubicBezTo>
                    <a:cubicBezTo>
                      <a:pt x="54" y="1917"/>
                      <a:pt x="54" y="1917"/>
                      <a:pt x="54" y="1917"/>
                    </a:cubicBezTo>
                    <a:cubicBezTo>
                      <a:pt x="1996" y="1914"/>
                      <a:pt x="1996" y="1914"/>
                      <a:pt x="1996" y="1914"/>
                    </a:cubicBezTo>
                    <a:cubicBezTo>
                      <a:pt x="2025" y="1914"/>
                      <a:pt x="2048" y="1891"/>
                      <a:pt x="2048" y="1862"/>
                    </a:cubicBezTo>
                    <a:lnTo>
                      <a:pt x="2046" y="726"/>
                    </a:lnTo>
                    <a:close/>
                    <a:moveTo>
                      <a:pt x="1731" y="611"/>
                    </a:moveTo>
                    <a:cubicBezTo>
                      <a:pt x="1898" y="727"/>
                      <a:pt x="1898" y="727"/>
                      <a:pt x="1898" y="727"/>
                    </a:cubicBezTo>
                    <a:cubicBezTo>
                      <a:pt x="1731" y="844"/>
                      <a:pt x="1731" y="844"/>
                      <a:pt x="1731" y="844"/>
                    </a:cubicBezTo>
                    <a:lnTo>
                      <a:pt x="1731" y="611"/>
                    </a:lnTo>
                    <a:close/>
                    <a:moveTo>
                      <a:pt x="1024" y="120"/>
                    </a:moveTo>
                    <a:cubicBezTo>
                      <a:pt x="1157" y="212"/>
                      <a:pt x="1157" y="212"/>
                      <a:pt x="1157" y="212"/>
                    </a:cubicBezTo>
                    <a:cubicBezTo>
                      <a:pt x="890" y="212"/>
                      <a:pt x="890" y="212"/>
                      <a:pt x="890" y="212"/>
                    </a:cubicBezTo>
                    <a:lnTo>
                      <a:pt x="1024" y="120"/>
                    </a:lnTo>
                    <a:close/>
                    <a:moveTo>
                      <a:pt x="422" y="317"/>
                    </a:moveTo>
                    <a:cubicBezTo>
                      <a:pt x="1626" y="317"/>
                      <a:pt x="1626" y="317"/>
                      <a:pt x="1626" y="317"/>
                    </a:cubicBezTo>
                    <a:cubicBezTo>
                      <a:pt x="1626" y="917"/>
                      <a:pt x="1626" y="917"/>
                      <a:pt x="1626" y="917"/>
                    </a:cubicBezTo>
                    <a:cubicBezTo>
                      <a:pt x="1222" y="1198"/>
                      <a:pt x="1222" y="1198"/>
                      <a:pt x="1222" y="1198"/>
                    </a:cubicBezTo>
                    <a:cubicBezTo>
                      <a:pt x="1057" y="1070"/>
                      <a:pt x="1057" y="1070"/>
                      <a:pt x="1057" y="1070"/>
                    </a:cubicBezTo>
                    <a:cubicBezTo>
                      <a:pt x="1057" y="1070"/>
                      <a:pt x="1056" y="1070"/>
                      <a:pt x="1056" y="1069"/>
                    </a:cubicBezTo>
                    <a:cubicBezTo>
                      <a:pt x="1038" y="1056"/>
                      <a:pt x="1012" y="1055"/>
                      <a:pt x="993" y="1070"/>
                    </a:cubicBezTo>
                    <a:cubicBezTo>
                      <a:pt x="827" y="1199"/>
                      <a:pt x="827" y="1199"/>
                      <a:pt x="827" y="1199"/>
                    </a:cubicBezTo>
                    <a:cubicBezTo>
                      <a:pt x="422" y="919"/>
                      <a:pt x="422" y="919"/>
                      <a:pt x="422" y="919"/>
                    </a:cubicBezTo>
                    <a:lnTo>
                      <a:pt x="422" y="317"/>
                    </a:lnTo>
                    <a:close/>
                    <a:moveTo>
                      <a:pt x="317" y="608"/>
                    </a:moveTo>
                    <a:cubicBezTo>
                      <a:pt x="317" y="847"/>
                      <a:pt x="317" y="847"/>
                      <a:pt x="317" y="847"/>
                    </a:cubicBezTo>
                    <a:cubicBezTo>
                      <a:pt x="145" y="727"/>
                      <a:pt x="145" y="727"/>
                      <a:pt x="145" y="727"/>
                    </a:cubicBezTo>
                    <a:lnTo>
                      <a:pt x="317" y="608"/>
                    </a:lnTo>
                    <a:close/>
                    <a:moveTo>
                      <a:pt x="105" y="827"/>
                    </a:moveTo>
                    <a:cubicBezTo>
                      <a:pt x="740" y="1266"/>
                      <a:pt x="740" y="1266"/>
                      <a:pt x="740" y="1266"/>
                    </a:cubicBezTo>
                    <a:cubicBezTo>
                      <a:pt x="106" y="1757"/>
                      <a:pt x="106" y="1757"/>
                      <a:pt x="106" y="1757"/>
                    </a:cubicBezTo>
                    <a:lnTo>
                      <a:pt x="105" y="827"/>
                    </a:lnTo>
                    <a:close/>
                    <a:moveTo>
                      <a:pt x="208" y="1812"/>
                    </a:moveTo>
                    <a:cubicBezTo>
                      <a:pt x="1025" y="1178"/>
                      <a:pt x="1025" y="1178"/>
                      <a:pt x="1025" y="1178"/>
                    </a:cubicBezTo>
                    <a:cubicBezTo>
                      <a:pt x="1839" y="1809"/>
                      <a:pt x="1839" y="1809"/>
                      <a:pt x="1839" y="1809"/>
                    </a:cubicBezTo>
                    <a:lnTo>
                      <a:pt x="208" y="1812"/>
                    </a:lnTo>
                    <a:close/>
                    <a:moveTo>
                      <a:pt x="1309" y="1265"/>
                    </a:moveTo>
                    <a:cubicBezTo>
                      <a:pt x="1942" y="825"/>
                      <a:pt x="1942" y="825"/>
                      <a:pt x="1942" y="825"/>
                    </a:cubicBezTo>
                    <a:cubicBezTo>
                      <a:pt x="1943" y="1757"/>
                      <a:pt x="1943" y="1757"/>
                      <a:pt x="1943" y="1757"/>
                    </a:cubicBezTo>
                    <a:lnTo>
                      <a:pt x="1309" y="12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34">
                <a:extLst>
                  <a:ext uri="{FF2B5EF4-FFF2-40B4-BE49-F238E27FC236}">
                    <a16:creationId xmlns:a16="http://schemas.microsoft.com/office/drawing/2014/main" id="{19204285-2D0C-E14C-A2BF-51FBDD25CA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" y="1309"/>
                <a:ext cx="236" cy="30"/>
              </a:xfrm>
              <a:custGeom>
                <a:avLst/>
                <a:gdLst>
                  <a:gd name="T0" fmla="*/ 763 w 816"/>
                  <a:gd name="T1" fmla="*/ 0 h 105"/>
                  <a:gd name="T2" fmla="*/ 53 w 816"/>
                  <a:gd name="T3" fmla="*/ 0 h 105"/>
                  <a:gd name="T4" fmla="*/ 0 w 816"/>
                  <a:gd name="T5" fmla="*/ 52 h 105"/>
                  <a:gd name="T6" fmla="*/ 53 w 816"/>
                  <a:gd name="T7" fmla="*/ 105 h 105"/>
                  <a:gd name="T8" fmla="*/ 763 w 816"/>
                  <a:gd name="T9" fmla="*/ 105 h 105"/>
                  <a:gd name="T10" fmla="*/ 816 w 816"/>
                  <a:gd name="T11" fmla="*/ 52 h 105"/>
                  <a:gd name="T12" fmla="*/ 763 w 816"/>
                  <a:gd name="T13" fmla="*/ 0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6" h="105">
                    <a:moveTo>
                      <a:pt x="763" y="0"/>
                    </a:moveTo>
                    <a:cubicBezTo>
                      <a:pt x="53" y="0"/>
                      <a:pt x="53" y="0"/>
                      <a:pt x="53" y="0"/>
                    </a:cubicBezTo>
                    <a:cubicBezTo>
                      <a:pt x="24" y="0"/>
                      <a:pt x="0" y="23"/>
                      <a:pt x="0" y="52"/>
                    </a:cubicBezTo>
                    <a:cubicBezTo>
                      <a:pt x="0" y="81"/>
                      <a:pt x="24" y="105"/>
                      <a:pt x="53" y="105"/>
                    </a:cubicBezTo>
                    <a:cubicBezTo>
                      <a:pt x="763" y="105"/>
                      <a:pt x="763" y="105"/>
                      <a:pt x="763" y="105"/>
                    </a:cubicBezTo>
                    <a:cubicBezTo>
                      <a:pt x="792" y="105"/>
                      <a:pt x="816" y="81"/>
                      <a:pt x="816" y="52"/>
                    </a:cubicBezTo>
                    <a:cubicBezTo>
                      <a:pt x="816" y="23"/>
                      <a:pt x="792" y="0"/>
                      <a:pt x="7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35">
                <a:extLst>
                  <a:ext uri="{FF2B5EF4-FFF2-40B4-BE49-F238E27FC236}">
                    <a16:creationId xmlns:a16="http://schemas.microsoft.com/office/drawing/2014/main" id="{A8EF541E-D2A3-1748-8CB2-97B6127C2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" y="1388"/>
                <a:ext cx="236" cy="30"/>
              </a:xfrm>
              <a:custGeom>
                <a:avLst/>
                <a:gdLst>
                  <a:gd name="T0" fmla="*/ 763 w 816"/>
                  <a:gd name="T1" fmla="*/ 0 h 104"/>
                  <a:gd name="T2" fmla="*/ 53 w 816"/>
                  <a:gd name="T3" fmla="*/ 0 h 104"/>
                  <a:gd name="T4" fmla="*/ 0 w 816"/>
                  <a:gd name="T5" fmla="*/ 52 h 104"/>
                  <a:gd name="T6" fmla="*/ 53 w 816"/>
                  <a:gd name="T7" fmla="*/ 104 h 104"/>
                  <a:gd name="T8" fmla="*/ 763 w 816"/>
                  <a:gd name="T9" fmla="*/ 104 h 104"/>
                  <a:gd name="T10" fmla="*/ 816 w 816"/>
                  <a:gd name="T11" fmla="*/ 52 h 104"/>
                  <a:gd name="T12" fmla="*/ 763 w 816"/>
                  <a:gd name="T13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6" h="104">
                    <a:moveTo>
                      <a:pt x="763" y="0"/>
                    </a:moveTo>
                    <a:cubicBezTo>
                      <a:pt x="53" y="0"/>
                      <a:pt x="53" y="0"/>
                      <a:pt x="53" y="0"/>
                    </a:cubicBezTo>
                    <a:cubicBezTo>
                      <a:pt x="24" y="0"/>
                      <a:pt x="0" y="23"/>
                      <a:pt x="0" y="52"/>
                    </a:cubicBezTo>
                    <a:cubicBezTo>
                      <a:pt x="0" y="81"/>
                      <a:pt x="24" y="104"/>
                      <a:pt x="53" y="104"/>
                    </a:cubicBezTo>
                    <a:cubicBezTo>
                      <a:pt x="763" y="104"/>
                      <a:pt x="763" y="104"/>
                      <a:pt x="763" y="104"/>
                    </a:cubicBezTo>
                    <a:cubicBezTo>
                      <a:pt x="792" y="104"/>
                      <a:pt x="816" y="81"/>
                      <a:pt x="816" y="52"/>
                    </a:cubicBezTo>
                    <a:cubicBezTo>
                      <a:pt x="816" y="23"/>
                      <a:pt x="792" y="0"/>
                      <a:pt x="7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0FB54664-381D-6348-8F69-57906A34B8E2}"/>
              </a:ext>
            </a:extLst>
          </p:cNvPr>
          <p:cNvGrpSpPr/>
          <p:nvPr/>
        </p:nvGrpSpPr>
        <p:grpSpPr>
          <a:xfrm rot="475118" flipH="1">
            <a:off x="11346260" y="3056205"/>
            <a:ext cx="1671533" cy="1682584"/>
            <a:chOff x="7576390" y="3790950"/>
            <a:chExt cx="2875967" cy="2894981"/>
          </a:xfrm>
        </p:grpSpPr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4BA509A3-138E-AE43-9243-CE3B761BBE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79384" flipH="1">
              <a:off x="7576390" y="3790950"/>
              <a:ext cx="2875967" cy="2894981"/>
            </a:xfrm>
            <a:prstGeom prst="rect">
              <a:avLst/>
            </a:prstGeom>
          </p:spPr>
        </p:pic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9EE234A9-DB5E-4943-A489-E284A3DDC77B}"/>
                </a:ext>
              </a:extLst>
            </p:cNvPr>
            <p:cNvSpPr/>
            <p:nvPr/>
          </p:nvSpPr>
          <p:spPr>
            <a:xfrm>
              <a:off x="8589364" y="4579495"/>
              <a:ext cx="959370" cy="14465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62E75DF0-F655-674A-AB0F-B6B0E3ABE4F8}"/>
                </a:ext>
              </a:extLst>
            </p:cNvPr>
            <p:cNvSpPr/>
            <p:nvPr/>
          </p:nvSpPr>
          <p:spPr>
            <a:xfrm>
              <a:off x="8514413" y="4219731"/>
              <a:ext cx="1073055" cy="33727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969C7250-E6CB-CD49-BBFA-A8B196AAEFAB}"/>
              </a:ext>
            </a:extLst>
          </p:cNvPr>
          <p:cNvGrpSpPr/>
          <p:nvPr/>
        </p:nvGrpSpPr>
        <p:grpSpPr>
          <a:xfrm rot="21116794">
            <a:off x="5204463" y="3921353"/>
            <a:ext cx="1768504" cy="1780197"/>
            <a:chOff x="7576390" y="3790950"/>
            <a:chExt cx="2875967" cy="2894981"/>
          </a:xfrm>
        </p:grpSpPr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9799B215-66D9-0C4C-934B-DAA87E3B11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79384" flipH="1">
              <a:off x="7576390" y="3790950"/>
              <a:ext cx="2875967" cy="2894981"/>
            </a:xfrm>
            <a:prstGeom prst="rect">
              <a:avLst/>
            </a:prstGeom>
          </p:spPr>
        </p:pic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93EEA80F-C394-1149-98D3-A1B2387ED542}"/>
                </a:ext>
              </a:extLst>
            </p:cNvPr>
            <p:cNvSpPr/>
            <p:nvPr/>
          </p:nvSpPr>
          <p:spPr>
            <a:xfrm>
              <a:off x="8589364" y="4579495"/>
              <a:ext cx="959370" cy="14465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27A063E5-1EEA-3948-A3B4-4388D63F84B5}"/>
                </a:ext>
              </a:extLst>
            </p:cNvPr>
            <p:cNvSpPr/>
            <p:nvPr/>
          </p:nvSpPr>
          <p:spPr>
            <a:xfrm>
              <a:off x="8514413" y="4219731"/>
              <a:ext cx="1073055" cy="33727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D5D69B31-EABB-D441-BCF6-194629AFA383}"/>
              </a:ext>
            </a:extLst>
          </p:cNvPr>
          <p:cNvCxnSpPr>
            <a:cxnSpLocks/>
          </p:cNvCxnSpPr>
          <p:nvPr/>
        </p:nvCxnSpPr>
        <p:spPr>
          <a:xfrm>
            <a:off x="6902010" y="4230313"/>
            <a:ext cx="445705" cy="0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9E30D17D-744F-C24F-9188-D7F452139B7A}"/>
              </a:ext>
            </a:extLst>
          </p:cNvPr>
          <p:cNvCxnSpPr>
            <a:cxnSpLocks/>
          </p:cNvCxnSpPr>
          <p:nvPr/>
        </p:nvCxnSpPr>
        <p:spPr>
          <a:xfrm flipV="1">
            <a:off x="7347715" y="4230313"/>
            <a:ext cx="0" cy="2715485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CC4146BB-1652-FC4D-B94F-355B34131C5E}"/>
              </a:ext>
            </a:extLst>
          </p:cNvPr>
          <p:cNvCxnSpPr>
            <a:cxnSpLocks/>
          </p:cNvCxnSpPr>
          <p:nvPr/>
        </p:nvCxnSpPr>
        <p:spPr>
          <a:xfrm>
            <a:off x="7322314" y="6945798"/>
            <a:ext cx="840608" cy="0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381040F4-1445-004B-9344-BA3E31F17224}"/>
              </a:ext>
            </a:extLst>
          </p:cNvPr>
          <p:cNvCxnSpPr>
            <a:cxnSpLocks/>
          </p:cNvCxnSpPr>
          <p:nvPr/>
        </p:nvCxnSpPr>
        <p:spPr>
          <a:xfrm flipV="1">
            <a:off x="10895249" y="3656444"/>
            <a:ext cx="0" cy="2715485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0922E513-744C-5B46-B8BC-3B5524A65BFA}"/>
              </a:ext>
            </a:extLst>
          </p:cNvPr>
          <p:cNvCxnSpPr>
            <a:cxnSpLocks/>
          </p:cNvCxnSpPr>
          <p:nvPr/>
        </p:nvCxnSpPr>
        <p:spPr>
          <a:xfrm>
            <a:off x="10886782" y="3669246"/>
            <a:ext cx="445705" cy="0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05F01C71-E554-BE47-A09D-95B6064BA072}"/>
              </a:ext>
            </a:extLst>
          </p:cNvPr>
          <p:cNvCxnSpPr>
            <a:cxnSpLocks/>
          </p:cNvCxnSpPr>
          <p:nvPr/>
        </p:nvCxnSpPr>
        <p:spPr>
          <a:xfrm>
            <a:off x="10449544" y="6373997"/>
            <a:ext cx="445705" cy="0"/>
          </a:xfrm>
          <a:prstGeom prst="line">
            <a:avLst/>
          </a:prstGeom>
          <a:ln w="41275">
            <a:solidFill>
              <a:schemeClr val="tx1">
                <a:lumMod val="65000"/>
                <a:lumOff val="35000"/>
              </a:schemeClr>
            </a:solidFill>
            <a:prstDash val="dash"/>
            <a:headEnd type="triangle" w="med" len="med"/>
            <a:tailEnd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Shape">
            <a:extLst>
              <a:ext uri="{FF2B5EF4-FFF2-40B4-BE49-F238E27FC236}">
                <a16:creationId xmlns:a16="http://schemas.microsoft.com/office/drawing/2014/main" id="{3667240E-4805-634D-95F2-36CDED45B61A}"/>
              </a:ext>
            </a:extLst>
          </p:cNvPr>
          <p:cNvSpPr/>
          <p:nvPr/>
        </p:nvSpPr>
        <p:spPr>
          <a:xfrm rot="531638">
            <a:off x="11955757" y="3759336"/>
            <a:ext cx="368481" cy="3823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61" y="8855"/>
                </a:moveTo>
                <a:cubicBezTo>
                  <a:pt x="21600" y="8925"/>
                  <a:pt x="21600" y="8925"/>
                  <a:pt x="21600" y="8925"/>
                </a:cubicBez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8925"/>
                  <a:pt x="0" y="8925"/>
                  <a:pt x="0" y="8925"/>
                </a:cubicBezTo>
                <a:cubicBezTo>
                  <a:pt x="9496" y="486"/>
                  <a:pt x="9496" y="486"/>
                  <a:pt x="9496" y="486"/>
                </a:cubicBezTo>
                <a:cubicBezTo>
                  <a:pt x="9652" y="347"/>
                  <a:pt x="9846" y="208"/>
                  <a:pt x="10080" y="139"/>
                </a:cubicBezTo>
                <a:cubicBezTo>
                  <a:pt x="10352" y="35"/>
                  <a:pt x="10586" y="0"/>
                  <a:pt x="10819" y="0"/>
                </a:cubicBezTo>
                <a:cubicBezTo>
                  <a:pt x="11053" y="0"/>
                  <a:pt x="11286" y="35"/>
                  <a:pt x="11520" y="139"/>
                </a:cubicBezTo>
                <a:cubicBezTo>
                  <a:pt x="11754" y="208"/>
                  <a:pt x="11948" y="347"/>
                  <a:pt x="12143" y="486"/>
                </a:cubicBezTo>
                <a:lnTo>
                  <a:pt x="21561" y="8855"/>
                </a:lnTo>
                <a:close/>
                <a:moveTo>
                  <a:pt x="6538" y="15280"/>
                </a:moveTo>
                <a:cubicBezTo>
                  <a:pt x="856" y="10210"/>
                  <a:pt x="856" y="10210"/>
                  <a:pt x="856" y="10210"/>
                </a:cubicBezTo>
                <a:cubicBezTo>
                  <a:pt x="856" y="20350"/>
                  <a:pt x="856" y="20350"/>
                  <a:pt x="856" y="20350"/>
                </a:cubicBezTo>
                <a:cubicBezTo>
                  <a:pt x="6499" y="15349"/>
                  <a:pt x="6499" y="15349"/>
                  <a:pt x="6499" y="15349"/>
                </a:cubicBezTo>
                <a:lnTo>
                  <a:pt x="6538" y="15280"/>
                </a:lnTo>
                <a:close/>
                <a:moveTo>
                  <a:pt x="1362" y="8821"/>
                </a:moveTo>
                <a:cubicBezTo>
                  <a:pt x="934" y="9203"/>
                  <a:pt x="934" y="9203"/>
                  <a:pt x="934" y="9203"/>
                </a:cubicBezTo>
                <a:cubicBezTo>
                  <a:pt x="7161" y="14724"/>
                  <a:pt x="7161" y="14724"/>
                  <a:pt x="7161" y="14724"/>
                </a:cubicBezTo>
                <a:cubicBezTo>
                  <a:pt x="9496" y="12641"/>
                  <a:pt x="9496" y="12641"/>
                  <a:pt x="9496" y="12641"/>
                </a:cubicBezTo>
                <a:cubicBezTo>
                  <a:pt x="9652" y="12502"/>
                  <a:pt x="9846" y="12363"/>
                  <a:pt x="10080" y="12293"/>
                </a:cubicBezTo>
                <a:cubicBezTo>
                  <a:pt x="10352" y="12189"/>
                  <a:pt x="10586" y="12154"/>
                  <a:pt x="10819" y="12154"/>
                </a:cubicBezTo>
                <a:cubicBezTo>
                  <a:pt x="11053" y="12154"/>
                  <a:pt x="11286" y="12189"/>
                  <a:pt x="11520" y="12293"/>
                </a:cubicBezTo>
                <a:cubicBezTo>
                  <a:pt x="11754" y="12363"/>
                  <a:pt x="11948" y="12502"/>
                  <a:pt x="12143" y="12641"/>
                </a:cubicBezTo>
                <a:cubicBezTo>
                  <a:pt x="14400" y="14724"/>
                  <a:pt x="14400" y="14724"/>
                  <a:pt x="14400" y="14724"/>
                </a:cubicBezTo>
                <a:cubicBezTo>
                  <a:pt x="20627" y="9168"/>
                  <a:pt x="20627" y="9168"/>
                  <a:pt x="20627" y="9168"/>
                </a:cubicBezTo>
                <a:cubicBezTo>
                  <a:pt x="11520" y="1042"/>
                  <a:pt x="11520" y="1042"/>
                  <a:pt x="11520" y="1042"/>
                </a:cubicBezTo>
                <a:cubicBezTo>
                  <a:pt x="11325" y="833"/>
                  <a:pt x="11092" y="764"/>
                  <a:pt x="10819" y="764"/>
                </a:cubicBezTo>
                <a:cubicBezTo>
                  <a:pt x="10547" y="764"/>
                  <a:pt x="10314" y="833"/>
                  <a:pt x="10080" y="1042"/>
                </a:cubicBezTo>
                <a:lnTo>
                  <a:pt x="1362" y="8821"/>
                </a:lnTo>
                <a:close/>
                <a:moveTo>
                  <a:pt x="1518" y="20836"/>
                </a:moveTo>
                <a:cubicBezTo>
                  <a:pt x="20082" y="20836"/>
                  <a:pt x="20082" y="20836"/>
                  <a:pt x="20082" y="20836"/>
                </a:cubicBezTo>
                <a:cubicBezTo>
                  <a:pt x="11520" y="13196"/>
                  <a:pt x="11520" y="13196"/>
                  <a:pt x="11520" y="13196"/>
                </a:cubicBezTo>
                <a:cubicBezTo>
                  <a:pt x="11325" y="13057"/>
                  <a:pt x="11092" y="12953"/>
                  <a:pt x="10819" y="12953"/>
                </a:cubicBezTo>
                <a:cubicBezTo>
                  <a:pt x="10547" y="12953"/>
                  <a:pt x="10314" y="13057"/>
                  <a:pt x="10080" y="13196"/>
                </a:cubicBezTo>
                <a:cubicBezTo>
                  <a:pt x="2024" y="20419"/>
                  <a:pt x="2024" y="20419"/>
                  <a:pt x="2024" y="20419"/>
                </a:cubicBezTo>
                <a:lnTo>
                  <a:pt x="1518" y="20836"/>
                </a:lnTo>
                <a:close/>
                <a:moveTo>
                  <a:pt x="20744" y="10487"/>
                </a:moveTo>
                <a:cubicBezTo>
                  <a:pt x="20744" y="10175"/>
                  <a:pt x="20744" y="10175"/>
                  <a:pt x="20744" y="10175"/>
                </a:cubicBezTo>
                <a:cubicBezTo>
                  <a:pt x="15023" y="15280"/>
                  <a:pt x="15023" y="15280"/>
                  <a:pt x="15023" y="15280"/>
                </a:cubicBezTo>
                <a:cubicBezTo>
                  <a:pt x="20744" y="20350"/>
                  <a:pt x="20744" y="20350"/>
                  <a:pt x="20744" y="20350"/>
                </a:cubicBezTo>
                <a:lnTo>
                  <a:pt x="20744" y="10487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defRPr sz="3200" spc="0">
                <a:solidFill>
                  <a:srgbClr val="FFFFFF"/>
                </a:solidFill>
                <a:latin typeface="Butler Stencil Medium"/>
                <a:ea typeface="Butler Stencil Medium"/>
                <a:cs typeface="Butler Stencil Medium"/>
                <a:sym typeface="Butler Stencil Medium"/>
              </a:defRPr>
            </a:pPr>
            <a:endParaRPr>
              <a:latin typeface="+mn-lt"/>
            </a:endParaRPr>
          </a:p>
        </p:txBody>
      </p:sp>
      <p:sp>
        <p:nvSpPr>
          <p:cNvPr id="48" name="Shape">
            <a:extLst>
              <a:ext uri="{FF2B5EF4-FFF2-40B4-BE49-F238E27FC236}">
                <a16:creationId xmlns:a16="http://schemas.microsoft.com/office/drawing/2014/main" id="{922F5E4B-989E-F94C-AC44-966B64613757}"/>
              </a:ext>
            </a:extLst>
          </p:cNvPr>
          <p:cNvSpPr/>
          <p:nvPr/>
        </p:nvSpPr>
        <p:spPr>
          <a:xfrm>
            <a:off x="5960383" y="4546814"/>
            <a:ext cx="379340" cy="2433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44" y="0"/>
                </a:moveTo>
                <a:cubicBezTo>
                  <a:pt x="21600" y="0"/>
                  <a:pt x="21600" y="0"/>
                  <a:pt x="21600" y="0"/>
                </a:cubicBez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0"/>
                  <a:pt x="0" y="0"/>
                  <a:pt x="0" y="0"/>
                </a:cubicBezTo>
                <a:lnTo>
                  <a:pt x="20744" y="0"/>
                </a:lnTo>
                <a:close/>
                <a:moveTo>
                  <a:pt x="856" y="1831"/>
                </a:moveTo>
                <a:cubicBezTo>
                  <a:pt x="856" y="19464"/>
                  <a:pt x="856" y="19464"/>
                  <a:pt x="856" y="19464"/>
                </a:cubicBezTo>
                <a:cubicBezTo>
                  <a:pt x="6499" y="10617"/>
                  <a:pt x="6499" y="10617"/>
                  <a:pt x="6499" y="10617"/>
                </a:cubicBezTo>
                <a:lnTo>
                  <a:pt x="856" y="1831"/>
                </a:lnTo>
                <a:close/>
                <a:moveTo>
                  <a:pt x="1518" y="20258"/>
                </a:moveTo>
                <a:cubicBezTo>
                  <a:pt x="20082" y="20258"/>
                  <a:pt x="20082" y="20258"/>
                  <a:pt x="20082" y="20258"/>
                </a:cubicBezTo>
                <a:cubicBezTo>
                  <a:pt x="14517" y="11593"/>
                  <a:pt x="14517" y="11593"/>
                  <a:pt x="14517" y="11593"/>
                </a:cubicBezTo>
                <a:cubicBezTo>
                  <a:pt x="12143" y="15315"/>
                  <a:pt x="12143" y="15315"/>
                  <a:pt x="12143" y="15315"/>
                </a:cubicBezTo>
                <a:cubicBezTo>
                  <a:pt x="11948" y="15620"/>
                  <a:pt x="11754" y="15864"/>
                  <a:pt x="11520" y="15986"/>
                </a:cubicBezTo>
                <a:cubicBezTo>
                  <a:pt x="11286" y="16108"/>
                  <a:pt x="11053" y="16169"/>
                  <a:pt x="10819" y="16169"/>
                </a:cubicBezTo>
                <a:cubicBezTo>
                  <a:pt x="10586" y="16169"/>
                  <a:pt x="10352" y="16108"/>
                  <a:pt x="10080" y="15986"/>
                </a:cubicBezTo>
                <a:cubicBezTo>
                  <a:pt x="9846" y="15864"/>
                  <a:pt x="9652" y="15620"/>
                  <a:pt x="9496" y="15315"/>
                </a:cubicBezTo>
                <a:cubicBezTo>
                  <a:pt x="7122" y="11593"/>
                  <a:pt x="7122" y="11593"/>
                  <a:pt x="7122" y="11593"/>
                </a:cubicBezTo>
                <a:lnTo>
                  <a:pt x="1518" y="20258"/>
                </a:lnTo>
                <a:close/>
                <a:moveTo>
                  <a:pt x="19888" y="1342"/>
                </a:moveTo>
                <a:cubicBezTo>
                  <a:pt x="1751" y="1342"/>
                  <a:pt x="1751" y="1342"/>
                  <a:pt x="1751" y="1342"/>
                </a:cubicBezTo>
                <a:cubicBezTo>
                  <a:pt x="10080" y="14339"/>
                  <a:pt x="10080" y="14339"/>
                  <a:pt x="10080" y="14339"/>
                </a:cubicBezTo>
                <a:cubicBezTo>
                  <a:pt x="10314" y="14705"/>
                  <a:pt x="10547" y="14827"/>
                  <a:pt x="10819" y="14827"/>
                </a:cubicBezTo>
                <a:cubicBezTo>
                  <a:pt x="11092" y="14827"/>
                  <a:pt x="11325" y="14705"/>
                  <a:pt x="11520" y="14339"/>
                </a:cubicBezTo>
                <a:lnTo>
                  <a:pt x="19888" y="1342"/>
                </a:lnTo>
                <a:close/>
                <a:moveTo>
                  <a:pt x="20744" y="19464"/>
                </a:moveTo>
                <a:cubicBezTo>
                  <a:pt x="20744" y="1831"/>
                  <a:pt x="20744" y="1831"/>
                  <a:pt x="20744" y="1831"/>
                </a:cubicBezTo>
                <a:cubicBezTo>
                  <a:pt x="15101" y="10617"/>
                  <a:pt x="15101" y="10617"/>
                  <a:pt x="15101" y="10617"/>
                </a:cubicBezTo>
                <a:lnTo>
                  <a:pt x="20744" y="19464"/>
                </a:ln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defRPr sz="3200" spc="0">
                <a:solidFill>
                  <a:srgbClr val="FFFFFF"/>
                </a:solidFill>
                <a:latin typeface="Butler Stencil Medium"/>
                <a:ea typeface="Butler Stencil Medium"/>
                <a:cs typeface="Butler Stencil Medium"/>
                <a:sym typeface="Butler Stencil Medium"/>
              </a:defRPr>
            </a:pPr>
            <a:endParaRPr>
              <a:latin typeface="+mn-lt"/>
            </a:endParaRPr>
          </a:p>
        </p:txBody>
      </p:sp>
      <p:sp>
        <p:nvSpPr>
          <p:cNvPr id="49" name="Shape">
            <a:extLst>
              <a:ext uri="{FF2B5EF4-FFF2-40B4-BE49-F238E27FC236}">
                <a16:creationId xmlns:a16="http://schemas.microsoft.com/office/drawing/2014/main" id="{052F4355-2E13-5045-8AD9-28F50FC753EE}"/>
              </a:ext>
            </a:extLst>
          </p:cNvPr>
          <p:cNvSpPr/>
          <p:nvPr/>
        </p:nvSpPr>
        <p:spPr>
          <a:xfrm rot="19835238">
            <a:off x="5945015" y="4926234"/>
            <a:ext cx="379340" cy="2433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44" y="0"/>
                </a:moveTo>
                <a:cubicBezTo>
                  <a:pt x="21600" y="0"/>
                  <a:pt x="21600" y="0"/>
                  <a:pt x="21600" y="0"/>
                </a:cubicBezTo>
                <a:cubicBezTo>
                  <a:pt x="21600" y="21600"/>
                  <a:pt x="21600" y="21600"/>
                  <a:pt x="21600" y="216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0" y="0"/>
                  <a:pt x="0" y="0"/>
                  <a:pt x="0" y="0"/>
                </a:cubicBezTo>
                <a:lnTo>
                  <a:pt x="20744" y="0"/>
                </a:lnTo>
                <a:close/>
                <a:moveTo>
                  <a:pt x="856" y="1831"/>
                </a:moveTo>
                <a:cubicBezTo>
                  <a:pt x="856" y="19464"/>
                  <a:pt x="856" y="19464"/>
                  <a:pt x="856" y="19464"/>
                </a:cubicBezTo>
                <a:cubicBezTo>
                  <a:pt x="6499" y="10617"/>
                  <a:pt x="6499" y="10617"/>
                  <a:pt x="6499" y="10617"/>
                </a:cubicBezTo>
                <a:lnTo>
                  <a:pt x="856" y="1831"/>
                </a:lnTo>
                <a:close/>
                <a:moveTo>
                  <a:pt x="1518" y="20258"/>
                </a:moveTo>
                <a:cubicBezTo>
                  <a:pt x="20082" y="20258"/>
                  <a:pt x="20082" y="20258"/>
                  <a:pt x="20082" y="20258"/>
                </a:cubicBezTo>
                <a:cubicBezTo>
                  <a:pt x="14517" y="11593"/>
                  <a:pt x="14517" y="11593"/>
                  <a:pt x="14517" y="11593"/>
                </a:cubicBezTo>
                <a:cubicBezTo>
                  <a:pt x="12143" y="15315"/>
                  <a:pt x="12143" y="15315"/>
                  <a:pt x="12143" y="15315"/>
                </a:cubicBezTo>
                <a:cubicBezTo>
                  <a:pt x="11948" y="15620"/>
                  <a:pt x="11754" y="15864"/>
                  <a:pt x="11520" y="15986"/>
                </a:cubicBezTo>
                <a:cubicBezTo>
                  <a:pt x="11286" y="16108"/>
                  <a:pt x="11053" y="16169"/>
                  <a:pt x="10819" y="16169"/>
                </a:cubicBezTo>
                <a:cubicBezTo>
                  <a:pt x="10586" y="16169"/>
                  <a:pt x="10352" y="16108"/>
                  <a:pt x="10080" y="15986"/>
                </a:cubicBezTo>
                <a:cubicBezTo>
                  <a:pt x="9846" y="15864"/>
                  <a:pt x="9652" y="15620"/>
                  <a:pt x="9496" y="15315"/>
                </a:cubicBezTo>
                <a:cubicBezTo>
                  <a:pt x="7122" y="11593"/>
                  <a:pt x="7122" y="11593"/>
                  <a:pt x="7122" y="11593"/>
                </a:cubicBezTo>
                <a:lnTo>
                  <a:pt x="1518" y="20258"/>
                </a:lnTo>
                <a:close/>
                <a:moveTo>
                  <a:pt x="19888" y="1342"/>
                </a:moveTo>
                <a:cubicBezTo>
                  <a:pt x="1751" y="1342"/>
                  <a:pt x="1751" y="1342"/>
                  <a:pt x="1751" y="1342"/>
                </a:cubicBezTo>
                <a:cubicBezTo>
                  <a:pt x="10080" y="14339"/>
                  <a:pt x="10080" y="14339"/>
                  <a:pt x="10080" y="14339"/>
                </a:cubicBezTo>
                <a:cubicBezTo>
                  <a:pt x="10314" y="14705"/>
                  <a:pt x="10547" y="14827"/>
                  <a:pt x="10819" y="14827"/>
                </a:cubicBezTo>
                <a:cubicBezTo>
                  <a:pt x="11092" y="14827"/>
                  <a:pt x="11325" y="14705"/>
                  <a:pt x="11520" y="14339"/>
                </a:cubicBezTo>
                <a:lnTo>
                  <a:pt x="19888" y="1342"/>
                </a:lnTo>
                <a:close/>
                <a:moveTo>
                  <a:pt x="20744" y="19464"/>
                </a:moveTo>
                <a:cubicBezTo>
                  <a:pt x="20744" y="1831"/>
                  <a:pt x="20744" y="1831"/>
                  <a:pt x="20744" y="1831"/>
                </a:cubicBezTo>
                <a:cubicBezTo>
                  <a:pt x="15101" y="10617"/>
                  <a:pt x="15101" y="10617"/>
                  <a:pt x="15101" y="10617"/>
                </a:cubicBezTo>
                <a:lnTo>
                  <a:pt x="20744" y="19464"/>
                </a:ln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>
              <a:lnSpc>
                <a:spcPct val="100000"/>
              </a:lnSpc>
              <a:defRPr sz="3200" spc="0">
                <a:solidFill>
                  <a:srgbClr val="FFFFFF"/>
                </a:solidFill>
                <a:latin typeface="Butler Stencil Medium"/>
                <a:ea typeface="Butler Stencil Medium"/>
                <a:cs typeface="Butler Stencil Medium"/>
                <a:sym typeface="Butler Stencil Medium"/>
              </a:defRPr>
            </a:pPr>
            <a:endParaRPr>
              <a:latin typeface="+mn-lt"/>
            </a:endParaRPr>
          </a:p>
        </p:txBody>
      </p:sp>
      <p:sp>
        <p:nvSpPr>
          <p:cNvPr id="31" name="Shape">
            <a:extLst>
              <a:ext uri="{FF2B5EF4-FFF2-40B4-BE49-F238E27FC236}">
                <a16:creationId xmlns:a16="http://schemas.microsoft.com/office/drawing/2014/main" id="{44086899-B225-1D4F-B19F-AFD34E0C4663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283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5A812B9-07DB-DE4C-8C12-565FC7C65BC0}"/>
              </a:ext>
            </a:extLst>
          </p:cNvPr>
          <p:cNvGrpSpPr/>
          <p:nvPr/>
        </p:nvGrpSpPr>
        <p:grpSpPr>
          <a:xfrm>
            <a:off x="8647665" y="2713910"/>
            <a:ext cx="4580773" cy="4881231"/>
            <a:chOff x="7913557" y="2687422"/>
            <a:chExt cx="4684269" cy="4883840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57AB11C2-2BC0-164B-B9EE-7B88627578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43663"/>
            <a:stretch/>
          </p:blipFill>
          <p:spPr>
            <a:xfrm>
              <a:off x="7913557" y="2687422"/>
              <a:ext cx="4684269" cy="4881230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6503"/>
            <a:stretch/>
          </p:blipFill>
          <p:spPr>
            <a:xfrm>
              <a:off x="8097405" y="3433504"/>
              <a:ext cx="4348484" cy="4137758"/>
            </a:xfrm>
            <a:prstGeom prst="rect">
              <a:avLst/>
            </a:prstGeom>
            <a:ln w="19050">
              <a:solidFill>
                <a:srgbClr val="92D050"/>
              </a:solidFill>
            </a:ln>
          </p:spPr>
        </p:pic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1A605DEA-131D-F24E-A289-3744E58AA6F7}"/>
                </a:ext>
              </a:extLst>
            </p:cNvPr>
            <p:cNvSpPr/>
            <p:nvPr/>
          </p:nvSpPr>
          <p:spPr>
            <a:xfrm>
              <a:off x="8170861" y="3974402"/>
              <a:ext cx="3754599" cy="1658238"/>
            </a:xfrm>
            <a:prstGeom prst="rect">
              <a:avLst/>
            </a:prstGeom>
            <a:noFill/>
            <a:ln w="57150">
              <a:solidFill>
                <a:srgbClr val="EE81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D78C9C-0992-3448-BE69-4CBF657D3B61}"/>
              </a:ext>
            </a:extLst>
          </p:cNvPr>
          <p:cNvSpPr/>
          <p:nvPr/>
        </p:nvSpPr>
        <p:spPr>
          <a:xfrm>
            <a:off x="2073029" y="-682135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sz="36000" b="1" dirty="0">
              <a:solidFill>
                <a:schemeClr val="bg1">
                  <a:alpha val="3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282E4B9-3C3E-4A4E-BB15-3418966F2FB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z="1600" smtClean="0"/>
              <a:pPr/>
              <a:t>13</a:t>
            </a:fld>
            <a:endParaRPr lang="ru-RU" sz="1600" dirty="0"/>
          </a:p>
        </p:txBody>
      </p:sp>
      <p:sp>
        <p:nvSpPr>
          <p:cNvPr id="14" name="Заголовок 4">
            <a:extLst>
              <a:ext uri="{FF2B5EF4-FFF2-40B4-BE49-F238E27FC236}">
                <a16:creationId xmlns:a16="http://schemas.microsoft.com/office/drawing/2014/main" id="{A9CCD2FD-FC15-D74C-9589-EE9430FCDF0F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03B32E-2334-FC45-B9F4-2E90BA3343DE}"/>
              </a:ext>
            </a:extLst>
          </p:cNvPr>
          <p:cNvSpPr txBox="1"/>
          <p:nvPr/>
        </p:nvSpPr>
        <p:spPr>
          <a:xfrm>
            <a:off x="4820248" y="485197"/>
            <a:ext cx="7353409" cy="3426579"/>
          </a:xfrm>
          <a:prstGeom prst="rect">
            <a:avLst/>
          </a:prstGeom>
          <a:noFill/>
        </p:spPr>
        <p:txBody>
          <a:bodyPr wrap="square" lIns="216000" rtlCol="0">
            <a:spAutoFit/>
          </a:bodyPr>
          <a:lstStyle/>
          <a:p>
            <a:pPr lvl="0" algn="l" eaLnBrk="1">
              <a:lnSpc>
                <a:spcPts val="5180"/>
              </a:lnSpc>
              <a:defRPr/>
            </a:pPr>
            <a:r>
              <a:rPr lang="ru-RU" sz="5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получили СМС </a:t>
            </a:r>
            <a:br>
              <a:rPr lang="ru-RU" sz="5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переводе, который </a:t>
            </a:r>
            <a:br>
              <a:rPr lang="ru-RU" sz="5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совершали, обратитесь</a:t>
            </a:r>
          </a:p>
          <a:p>
            <a:pPr lvl="0" algn="l" eaLnBrk="1">
              <a:lnSpc>
                <a:spcPts val="5180"/>
              </a:lnSpc>
              <a:defRPr/>
            </a:pPr>
            <a:r>
              <a:rPr lang="ru-RU" sz="5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банк</a:t>
            </a:r>
          </a:p>
        </p:txBody>
      </p:sp>
      <p:sp>
        <p:nvSpPr>
          <p:cNvPr id="10" name="Shape">
            <a:extLst>
              <a:ext uri="{FF2B5EF4-FFF2-40B4-BE49-F238E27FC236}">
                <a16:creationId xmlns:a16="http://schemas.microsoft.com/office/drawing/2014/main" id="{1D5E93E2-BEBB-F445-AFAF-DAF081B72EF6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709117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AC112472-1229-F942-A6E2-7B932A94EA83}"/>
              </a:ext>
            </a:extLst>
          </p:cNvPr>
          <p:cNvCxnSpPr/>
          <p:nvPr/>
        </p:nvCxnSpPr>
        <p:spPr>
          <a:xfrm>
            <a:off x="968129" y="3209286"/>
            <a:ext cx="282345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79119" y="229826"/>
            <a:ext cx="81997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ТАКОЕ </a:t>
            </a:r>
            <a:b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НЕТ-БАНКИНГ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95275" y="1833200"/>
            <a:ext cx="875278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algn="l" defTabSz="1010961" hangingPunct="1"/>
            <a:r>
              <a:rPr lang="ru-RU" sz="4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а позволяет: </a:t>
            </a:r>
            <a:r>
              <a:rPr lang="en-US" sz="4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4400" b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остоятельно</a:t>
            </a:r>
            <a:r>
              <a:rPr lang="ru-RU" sz="4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в любое время пользоваться услугами банка через Интернет</a:t>
            </a:r>
            <a:endParaRPr lang="en-US" sz="4400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010961" hangingPunct="1"/>
            <a:endParaRPr lang="ru-RU" sz="4400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010961" hangingPunct="1"/>
            <a:r>
              <a:rPr lang="ru-RU" sz="4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ать вопросы </a:t>
            </a:r>
            <a:br>
              <a:rPr lang="ru-RU" sz="4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и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CFDBF7B-B2F9-8A48-99E0-4E4E9CC925A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z="1600" smtClean="0"/>
              <a:pPr/>
              <a:t>14</a:t>
            </a:fld>
            <a:endParaRPr lang="ru-RU" sz="1600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1942183-A406-BC49-BC19-C1C4466CF628}"/>
              </a:ext>
            </a:extLst>
          </p:cNvPr>
          <p:cNvGrpSpPr/>
          <p:nvPr/>
        </p:nvGrpSpPr>
        <p:grpSpPr>
          <a:xfrm>
            <a:off x="8463471" y="672669"/>
            <a:ext cx="3880929" cy="6804714"/>
            <a:chOff x="9141114" y="1035386"/>
            <a:chExt cx="3404454" cy="6330046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89A0A5E0-DA57-C044-B678-41948CB4D1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141114" y="1035386"/>
              <a:ext cx="3404454" cy="6330046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99" b="6731"/>
            <a:stretch/>
          </p:blipFill>
          <p:spPr>
            <a:xfrm>
              <a:off x="9271927" y="1541122"/>
              <a:ext cx="3153760" cy="5161430"/>
            </a:xfrm>
            <a:prstGeom prst="rect">
              <a:avLst/>
            </a:prstGeom>
            <a:ln>
              <a:solidFill>
                <a:srgbClr val="92D050"/>
              </a:solidFill>
            </a:ln>
          </p:spPr>
        </p:pic>
      </p:grpSp>
      <p:sp>
        <p:nvSpPr>
          <p:cNvPr id="10" name="Shape">
            <a:extLst>
              <a:ext uri="{FF2B5EF4-FFF2-40B4-BE49-F238E27FC236}">
                <a16:creationId xmlns:a16="http://schemas.microsoft.com/office/drawing/2014/main" id="{D393C508-BF24-8F46-8AA5-170F657148AF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4573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45ED70F-7981-7946-AFCE-5DE698CCC8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1366"/>
          <a:stretch/>
        </p:blipFill>
        <p:spPr>
          <a:xfrm>
            <a:off x="6799885" y="2381620"/>
            <a:ext cx="3746682" cy="5200279"/>
          </a:xfrm>
          <a:prstGeom prst="rect">
            <a:avLst/>
          </a:prstGeom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7454279-EAA2-FB4A-BBA2-303ABA0AC50C}"/>
              </a:ext>
            </a:extLst>
          </p:cNvPr>
          <p:cNvGrpSpPr/>
          <p:nvPr/>
        </p:nvGrpSpPr>
        <p:grpSpPr>
          <a:xfrm>
            <a:off x="6949076" y="2938781"/>
            <a:ext cx="3455788" cy="4643118"/>
            <a:chOff x="9965096" y="3216620"/>
            <a:chExt cx="2612540" cy="3525725"/>
          </a:xfrm>
        </p:grpSpPr>
        <p:pic>
          <p:nvPicPr>
            <p:cNvPr id="6" name="Рисунок 5" descr="Изображение выглядит как электроника&#10;&#10;Автоматически созданное описание">
              <a:extLst>
                <a:ext uri="{FF2B5EF4-FFF2-40B4-BE49-F238E27FC236}">
                  <a16:creationId xmlns:a16="http://schemas.microsoft.com/office/drawing/2014/main" id="{848E7A9C-625C-B94C-8397-E8BA68A32D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91" t="15283" r="6243" b="10520"/>
            <a:stretch/>
          </p:blipFill>
          <p:spPr>
            <a:xfrm>
              <a:off x="9965096" y="3216620"/>
              <a:ext cx="2612540" cy="3525725"/>
            </a:xfrm>
            <a:prstGeom prst="rect">
              <a:avLst/>
            </a:prstGeom>
            <a:ln w="19050">
              <a:solidFill>
                <a:srgbClr val="92D050"/>
              </a:solidFill>
            </a:ln>
          </p:spPr>
        </p:pic>
        <p:pic>
          <p:nvPicPr>
            <p:cNvPr id="19" name="Рисунок 18" descr="Изображение выглядит как электроника&#10;&#10;Автоматически созданное описание">
              <a:extLst>
                <a:ext uri="{FF2B5EF4-FFF2-40B4-BE49-F238E27FC236}">
                  <a16:creationId xmlns:a16="http://schemas.microsoft.com/office/drawing/2014/main" id="{DB7D909C-40A9-6D4E-80D9-7F85C17FA3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320" t="90817" r="18231"/>
            <a:stretch/>
          </p:blipFill>
          <p:spPr>
            <a:xfrm>
              <a:off x="10140061" y="3782071"/>
              <a:ext cx="2298011" cy="517234"/>
            </a:xfrm>
            <a:prstGeom prst="rect">
              <a:avLst/>
            </a:prstGeom>
          </p:spPr>
        </p:pic>
      </p:grp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D78C9C-0992-3448-BE69-4CBF657D3B61}"/>
              </a:ext>
            </a:extLst>
          </p:cNvPr>
          <p:cNvSpPr/>
          <p:nvPr/>
        </p:nvSpPr>
        <p:spPr>
          <a:xfrm>
            <a:off x="2073029" y="-682135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03B32E-2334-FC45-B9F4-2E90BA3343DE}"/>
              </a:ext>
            </a:extLst>
          </p:cNvPr>
          <p:cNvSpPr txBox="1"/>
          <p:nvPr/>
        </p:nvSpPr>
        <p:spPr>
          <a:xfrm>
            <a:off x="4825706" y="365989"/>
            <a:ext cx="6716436" cy="1823576"/>
          </a:xfrm>
          <a:prstGeom prst="rect">
            <a:avLst/>
          </a:prstGeom>
          <a:noFill/>
        </p:spPr>
        <p:txBody>
          <a:bodyPr wrap="square" lIns="216000" rtlCol="0">
            <a:spAutoFit/>
          </a:bodyPr>
          <a:lstStyle/>
          <a:p>
            <a:pPr lvl="0" algn="l" eaLnBrk="1">
              <a:lnSpc>
                <a:spcPts val="4460"/>
              </a:lnSpc>
              <a:defRPr/>
            </a:pP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ачивайте </a:t>
            </a:r>
            <a:b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ое приложение </a:t>
            </a:r>
            <a:b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фициальных магазинах</a:t>
            </a:r>
            <a:endParaRPr lang="en-US" sz="4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282E4B9-3C3E-4A4E-BB15-3418966F2FB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z="1600" smtClean="0"/>
              <a:pPr/>
              <a:t>15</a:t>
            </a:fld>
            <a:endParaRPr lang="ru-RU" sz="1600" dirty="0"/>
          </a:p>
        </p:txBody>
      </p:sp>
      <p:sp>
        <p:nvSpPr>
          <p:cNvPr id="14" name="Заголовок 4">
            <a:extLst>
              <a:ext uri="{FF2B5EF4-FFF2-40B4-BE49-F238E27FC236}">
                <a16:creationId xmlns:a16="http://schemas.microsoft.com/office/drawing/2014/main" id="{A9CCD2FD-FC15-D74C-9589-EE9430FCDF0F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 descr="Изображение выглядит как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5AFE0826-F934-774B-B443-44059B573CC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567"/>
          <a:stretch/>
        </p:blipFill>
        <p:spPr>
          <a:xfrm>
            <a:off x="11399535" y="652060"/>
            <a:ext cx="1807347" cy="625717"/>
          </a:xfrm>
          <a:prstGeom prst="rect">
            <a:avLst/>
          </a:prstGeom>
        </p:spPr>
      </p:pic>
      <p:pic>
        <p:nvPicPr>
          <p:cNvPr id="15" name="Рисунок 14" descr="Изображение выглядит как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F5D9C06D-F846-1D43-9F5B-63132B6F1BC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293"/>
          <a:stretch/>
        </p:blipFill>
        <p:spPr>
          <a:xfrm>
            <a:off x="11399535" y="1463709"/>
            <a:ext cx="1780810" cy="625717"/>
          </a:xfrm>
          <a:prstGeom prst="rect">
            <a:avLst/>
          </a:prstGeom>
        </p:spPr>
      </p:pic>
      <p:sp>
        <p:nvSpPr>
          <p:cNvPr id="16" name="Shape">
            <a:extLst>
              <a:ext uri="{FF2B5EF4-FFF2-40B4-BE49-F238E27FC236}">
                <a16:creationId xmlns:a16="http://schemas.microsoft.com/office/drawing/2014/main" id="{E4F3E872-9119-904D-BC05-6FD3D999247D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415599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FE952F9-0922-0E47-808C-ACD9CAB74FEA}"/>
              </a:ext>
            </a:extLst>
          </p:cNvPr>
          <p:cNvGrpSpPr/>
          <p:nvPr/>
        </p:nvGrpSpPr>
        <p:grpSpPr>
          <a:xfrm>
            <a:off x="8815554" y="2796363"/>
            <a:ext cx="4324451" cy="4785537"/>
            <a:chOff x="6177771" y="2339163"/>
            <a:chExt cx="4684269" cy="4881230"/>
          </a:xfrm>
        </p:grpSpPr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A0BCEB6A-5BDE-8B4B-88BB-3C98D96634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43663"/>
            <a:stretch/>
          </p:blipFill>
          <p:spPr>
            <a:xfrm>
              <a:off x="6177771" y="2339163"/>
              <a:ext cx="4684269" cy="4881230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F97D6CB4-41A6-5E48-B9DD-4CEEA397D9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7629"/>
            <a:stretch/>
          </p:blipFill>
          <p:spPr>
            <a:xfrm>
              <a:off x="6347638" y="3062177"/>
              <a:ext cx="4369985" cy="4158215"/>
            </a:xfrm>
            <a:prstGeom prst="rect">
              <a:avLst/>
            </a:prstGeom>
            <a:ln w="12700">
              <a:solidFill>
                <a:srgbClr val="92D050"/>
              </a:solidFill>
            </a:ln>
          </p:spPr>
        </p:pic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FF891422-16ED-F14A-97D8-DF4F71B0F34E}"/>
                </a:ext>
              </a:extLst>
            </p:cNvPr>
            <p:cNvSpPr/>
            <p:nvPr/>
          </p:nvSpPr>
          <p:spPr>
            <a:xfrm>
              <a:off x="6427662" y="5663719"/>
              <a:ext cx="3754598" cy="468777"/>
            </a:xfrm>
            <a:prstGeom prst="rect">
              <a:avLst/>
            </a:prstGeom>
            <a:noFill/>
            <a:ln w="57150">
              <a:solidFill>
                <a:srgbClr val="EE81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D78C9C-0992-3448-BE69-4CBF657D3B61}"/>
              </a:ext>
            </a:extLst>
          </p:cNvPr>
          <p:cNvSpPr/>
          <p:nvPr/>
        </p:nvSpPr>
        <p:spPr>
          <a:xfrm>
            <a:off x="1993357" y="-658985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4E51A83-CC44-514C-B6DF-CB139BB1C6FB}"/>
              </a:ext>
            </a:extLst>
          </p:cNvPr>
          <p:cNvSpPr/>
          <p:nvPr/>
        </p:nvSpPr>
        <p:spPr>
          <a:xfrm>
            <a:off x="5005426" y="539466"/>
            <a:ext cx="7351742" cy="37189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ts val="1200"/>
              </a:spcBef>
              <a:defRPr/>
            </a:pPr>
            <a:r>
              <a:rPr lang="ru-RU" sz="4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Не сообщайте никому:</a:t>
            </a:r>
            <a:endParaRPr lang="ru-RU" sz="1600" b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  <a:p>
            <a:pPr marL="358775" indent="-358775" algn="l">
              <a:lnSpc>
                <a:spcPts val="5080"/>
              </a:lnSpc>
              <a:spcBef>
                <a:spcPts val="120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/>
            </a:pP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Логин и пароль </a:t>
            </a:r>
            <a: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/>
            </a:r>
            <a:b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</a:b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</a:rPr>
              <a:t>от Сбербанк Онлайн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  <a:p>
            <a:pPr marL="358775" indent="-358775" algn="l">
              <a:lnSpc>
                <a:spcPts val="4980"/>
              </a:lnSpc>
              <a:buFont typeface="Arial" panose="020B0604020202020204" pitchFamily="34" charset="0"/>
              <a:buChar char="•"/>
              <a:defRPr/>
            </a:pP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оли</a:t>
            </a:r>
          </a:p>
          <a:p>
            <a:pPr marL="401638" algn="l">
              <a:lnSpc>
                <a:spcPts val="4980"/>
              </a:lnSpc>
              <a:defRPr/>
            </a:pP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СМС </a:t>
            </a:r>
            <a:endParaRPr lang="ru-RU" sz="44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3225E85-CF5E-6C4A-9153-CFD8F634F73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6" name="Заголовок 4">
            <a:extLst>
              <a:ext uri="{FF2B5EF4-FFF2-40B4-BE49-F238E27FC236}">
                <a16:creationId xmlns:a16="http://schemas.microsoft.com/office/drawing/2014/main" id="{8DCD9B56-7B16-654B-B142-1C0EC47E05E7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C959123E-6EDB-114D-A769-85F77E2BE491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032900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D78C9C-0992-3448-BE69-4CBF657D3B61}"/>
              </a:ext>
            </a:extLst>
          </p:cNvPr>
          <p:cNvSpPr/>
          <p:nvPr/>
        </p:nvSpPr>
        <p:spPr>
          <a:xfrm>
            <a:off x="2155690" y="-678987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2" name="Заголовок 4">
            <a:extLst>
              <a:ext uri="{FF2B5EF4-FFF2-40B4-BE49-F238E27FC236}">
                <a16:creationId xmlns:a16="http://schemas.microsoft.com/office/drawing/2014/main" id="{A37C253A-2FE1-EA4E-8054-862DB1A012DF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E86254-966A-074F-9D94-60B49CCC2D4C}"/>
              </a:ext>
            </a:extLst>
          </p:cNvPr>
          <p:cNvSpPr txBox="1"/>
          <p:nvPr/>
        </p:nvSpPr>
        <p:spPr>
          <a:xfrm>
            <a:off x="4859986" y="476169"/>
            <a:ext cx="8571095" cy="1823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444753" rtl="0" eaLnBrk="1" fontAlgn="auto" latinLnBrk="0" hangingPunct="0">
              <a:lnSpc>
                <a:spcPts val="446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kumimoji="0" lang="ru-RU" sz="4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В веб-версии вводите данные только если </a:t>
            </a:r>
            <a:r>
              <a:rPr kumimoji="0" lang="ru-RU" sz="4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домен </a:t>
            </a:r>
            <a:r>
              <a:rPr kumimoji="0" lang="ru-RU" sz="4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точно совпадает с </a:t>
            </a:r>
            <a:r>
              <a:rPr kumimoji="0" lang="ru-RU" sz="44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названием сайт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E8E85F1-DCA3-4C47-9B9D-A2E7536ED0D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E86254-966A-074F-9D94-60B49CCC2D4C}"/>
              </a:ext>
            </a:extLst>
          </p:cNvPr>
          <p:cNvSpPr txBox="1"/>
          <p:nvPr/>
        </p:nvSpPr>
        <p:spPr>
          <a:xfrm>
            <a:off x="9435247" y="3588373"/>
            <a:ext cx="3777051" cy="1977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444753" rtl="0" eaLnBrk="1" fontAlgn="auto" latinLnBrk="0" hangingPunct="0">
              <a:lnSpc>
                <a:spcPts val="486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4800" noProof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сайт начинается с </a:t>
            </a:r>
            <a:r>
              <a:rPr kumimoji="0" lang="en-US" sz="4800" b="1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http</a:t>
            </a:r>
            <a:r>
              <a:rPr kumimoji="0" lang="en-US" sz="4800" b="1" i="0" u="none" strike="noStrike" kern="0" cap="none" spc="0" normalizeH="0" baseline="0" noProof="0" dirty="0" err="1">
                <a:ln>
                  <a:noFill/>
                </a:ln>
                <a:solidFill>
                  <a:srgbClr val="EE813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S</a:t>
            </a:r>
            <a:r>
              <a:rPr lang="ru-RU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kumimoji="0" lang="ru-RU" sz="48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0" r="28503" b="90517"/>
          <a:stretch/>
        </p:blipFill>
        <p:spPr>
          <a:xfrm>
            <a:off x="7364396" y="2443377"/>
            <a:ext cx="5899587" cy="951411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47129E36-BD60-B24F-9AAE-A126836E17C3}"/>
              </a:ext>
            </a:extLst>
          </p:cNvPr>
          <p:cNvGrpSpPr/>
          <p:nvPr/>
        </p:nvGrpSpPr>
        <p:grpSpPr>
          <a:xfrm>
            <a:off x="4890357" y="3360608"/>
            <a:ext cx="4216424" cy="4245165"/>
            <a:chOff x="5125781" y="2886659"/>
            <a:chExt cx="4216424" cy="4245165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825F4364-474A-114C-A66C-6699029500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-1" b="49322"/>
            <a:stretch/>
          </p:blipFill>
          <p:spPr>
            <a:xfrm>
              <a:off x="5125781" y="2886659"/>
              <a:ext cx="4216424" cy="4245165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30" t="567" r="430" b="49760"/>
            <a:stretch/>
          </p:blipFill>
          <p:spPr>
            <a:xfrm>
              <a:off x="5234028" y="3565726"/>
              <a:ext cx="4009182" cy="3542225"/>
            </a:xfrm>
            <a:prstGeom prst="rect">
              <a:avLst/>
            </a:prstGeom>
            <a:ln>
              <a:solidFill>
                <a:srgbClr val="92D050"/>
              </a:solidFill>
            </a:ln>
          </p:spPr>
        </p:pic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84279F96-5DD0-D343-9550-2531E2F5649C}"/>
                </a:ext>
              </a:extLst>
            </p:cNvPr>
            <p:cNvSpPr/>
            <p:nvPr/>
          </p:nvSpPr>
          <p:spPr>
            <a:xfrm>
              <a:off x="5857655" y="3709083"/>
              <a:ext cx="2752677" cy="574450"/>
            </a:xfrm>
            <a:prstGeom prst="ellipse">
              <a:avLst/>
            </a:prstGeom>
            <a:noFill/>
            <a:ln w="5715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" name="Shape">
            <a:extLst>
              <a:ext uri="{FF2B5EF4-FFF2-40B4-BE49-F238E27FC236}">
                <a16:creationId xmlns:a16="http://schemas.microsoft.com/office/drawing/2014/main" id="{58AE7D2A-42F1-FB49-9115-4251E5747AD8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171128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D78C9C-0992-3448-BE69-4CBF657D3B61}"/>
              </a:ext>
            </a:extLst>
          </p:cNvPr>
          <p:cNvSpPr/>
          <p:nvPr/>
        </p:nvSpPr>
        <p:spPr>
          <a:xfrm>
            <a:off x="1978318" y="-647410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D24E3E-157D-2348-9D74-1CE3B11E9E20}"/>
              </a:ext>
            </a:extLst>
          </p:cNvPr>
          <p:cNvSpPr txBox="1"/>
          <p:nvPr/>
        </p:nvSpPr>
        <p:spPr>
          <a:xfrm>
            <a:off x="5023153" y="414222"/>
            <a:ext cx="7756751" cy="2759730"/>
          </a:xfrm>
          <a:prstGeom prst="rect">
            <a:avLst/>
          </a:prstGeom>
          <a:noFill/>
        </p:spPr>
        <p:txBody>
          <a:bodyPr wrap="square" lIns="216000" rtlCol="0">
            <a:spAutoFit/>
          </a:bodyPr>
          <a:lstStyle>
            <a:defPPr marL="0" marR="0" indent="0" algn="l" defTabSz="89553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spcBef>
                <a:spcPts val="1200"/>
              </a:spcBef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>
              <a:lnSpc>
                <a:spcPts val="5180"/>
              </a:lnSpc>
              <a:spcBef>
                <a:spcPts val="0"/>
              </a:spcBef>
              <a:defRPr/>
            </a:pP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чики постоянно исправляют уязвимости и добавляют функции, повышающие безопасность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282E4B9-3C3E-4A4E-BB15-3418966F2FB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z="1600" smtClean="0"/>
              <a:pPr/>
              <a:t>18</a:t>
            </a:fld>
            <a:endParaRPr lang="ru-RU" sz="1600" dirty="0"/>
          </a:p>
        </p:txBody>
      </p:sp>
      <p:sp>
        <p:nvSpPr>
          <p:cNvPr id="7" name="Заголовок 4">
            <a:extLst>
              <a:ext uri="{FF2B5EF4-FFF2-40B4-BE49-F238E27FC236}">
                <a16:creationId xmlns:a16="http://schemas.microsoft.com/office/drawing/2014/main" id="{203D220C-8804-2443-A61F-3DA36F6DB97F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8FE003C8-6923-4B4B-82E6-D2728491FFDC}"/>
              </a:ext>
            </a:extLst>
          </p:cNvPr>
          <p:cNvGrpSpPr>
            <a:grpSpLocks noChangeAspect="1"/>
          </p:cNvGrpSpPr>
          <p:nvPr/>
        </p:nvGrpSpPr>
        <p:grpSpPr>
          <a:xfrm>
            <a:off x="9945068" y="3545346"/>
            <a:ext cx="2419798" cy="3390286"/>
            <a:chOff x="8494559" y="3529876"/>
            <a:chExt cx="2661483" cy="3728902"/>
          </a:xfrm>
        </p:grpSpPr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660A78CC-D6E3-4649-AC03-3362C8B5FBAE}"/>
                </a:ext>
              </a:extLst>
            </p:cNvPr>
            <p:cNvGrpSpPr/>
            <p:nvPr/>
          </p:nvGrpSpPr>
          <p:grpSpPr>
            <a:xfrm rot="1386106">
              <a:off x="8494559" y="3529876"/>
              <a:ext cx="2661483" cy="3728902"/>
              <a:chOff x="924595" y="2996136"/>
              <a:chExt cx="3160921" cy="4377957"/>
            </a:xfrm>
          </p:grpSpPr>
          <p:pic>
            <p:nvPicPr>
              <p:cNvPr id="14" name="Рисунок 13">
                <a:extLst>
                  <a:ext uri="{FF2B5EF4-FFF2-40B4-BE49-F238E27FC236}">
                    <a16:creationId xmlns:a16="http://schemas.microsoft.com/office/drawing/2014/main" id="{AD9EC91F-511C-AB42-A76E-F7BE6AFCBF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 rot="20450517">
                <a:off x="924595" y="2996136"/>
                <a:ext cx="3160921" cy="4377957"/>
              </a:xfrm>
              <a:prstGeom prst="rect">
                <a:avLst/>
              </a:prstGeom>
            </p:spPr>
          </p:pic>
          <p:pic>
            <p:nvPicPr>
              <p:cNvPr id="15" name="Рисунок 14">
                <a:extLst>
                  <a:ext uri="{FF2B5EF4-FFF2-40B4-BE49-F238E27FC236}">
                    <a16:creationId xmlns:a16="http://schemas.microsoft.com/office/drawing/2014/main" id="{2E9F5A8F-DC49-404C-986E-90C2D53A68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1174421">
                <a:off x="1497588" y="3759557"/>
                <a:ext cx="1864168" cy="2796253"/>
              </a:xfrm>
              <a:prstGeom prst="rect">
                <a:avLst/>
              </a:prstGeom>
              <a:ln>
                <a:noFill/>
              </a:ln>
            </p:spPr>
          </p:pic>
          <p:cxnSp>
            <p:nvCxnSpPr>
              <p:cNvPr id="16" name="Прямая соединительная линия 15">
                <a:extLst>
                  <a:ext uri="{FF2B5EF4-FFF2-40B4-BE49-F238E27FC236}">
                    <a16:creationId xmlns:a16="http://schemas.microsoft.com/office/drawing/2014/main" id="{CFF7A494-CD3E-D544-A96E-058BF933FD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84291" y="3648309"/>
                <a:ext cx="350615" cy="2794482"/>
              </a:xfrm>
              <a:prstGeom prst="line">
                <a:avLst/>
              </a:prstGeom>
              <a:ln w="63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Прямая соединительная линия 16">
                <a:extLst>
                  <a:ext uri="{FF2B5EF4-FFF2-40B4-BE49-F238E27FC236}">
                    <a16:creationId xmlns:a16="http://schemas.microsoft.com/office/drawing/2014/main" id="{BA65020C-81A7-6747-9CD0-ED7A237217D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696699" y="6437320"/>
                <a:ext cx="1838208" cy="222884"/>
              </a:xfrm>
              <a:prstGeom prst="line">
                <a:avLst/>
              </a:prstGeom>
              <a:ln w="6350">
                <a:gradFill>
                  <a:gsLst>
                    <a:gs pos="100000">
                      <a:schemeClr val="accent1">
                        <a:lumMod val="5000"/>
                        <a:lumOff val="95000"/>
                        <a:alpha val="0"/>
                      </a:schemeClr>
                    </a:gs>
                    <a:gs pos="31000">
                      <a:schemeClr val="bg1">
                        <a:lumMod val="50000"/>
                      </a:schemeClr>
                    </a:gs>
                  </a:gsLst>
                  <a:lin ang="5400000" scaled="1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Прямая соединительная линия 17">
                <a:extLst>
                  <a:ext uri="{FF2B5EF4-FFF2-40B4-BE49-F238E27FC236}">
                    <a16:creationId xmlns:a16="http://schemas.microsoft.com/office/drawing/2014/main" id="{097C31E9-A5F7-1440-A591-2278FB8D245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341363" y="3655163"/>
                <a:ext cx="1838919" cy="235653"/>
              </a:xfrm>
              <a:prstGeom prst="line">
                <a:avLst/>
              </a:prstGeom>
              <a:ln w="6350">
                <a:gradFill>
                  <a:gsLst>
                    <a:gs pos="100000">
                      <a:schemeClr val="accent1">
                        <a:lumMod val="5000"/>
                        <a:lumOff val="95000"/>
                      </a:schemeClr>
                    </a:gs>
                    <a:gs pos="31000">
                      <a:schemeClr val="bg1">
                        <a:lumMod val="50000"/>
                      </a:schemeClr>
                    </a:gs>
                  </a:gsLst>
                  <a:lin ang="5400000" scaled="1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7" name="Рисунок 26" descr="Изображение выглядит как электроника&#10;&#10;Автоматически созданное описание">
              <a:extLst>
                <a:ext uri="{FF2B5EF4-FFF2-40B4-BE49-F238E27FC236}">
                  <a16:creationId xmlns:a16="http://schemas.microsoft.com/office/drawing/2014/main" id="{8DED3252-FBD4-2F4C-B323-3E54FF5337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281" t="15283" r="12909" b="16710"/>
            <a:stretch/>
          </p:blipFill>
          <p:spPr>
            <a:xfrm rot="1009701">
              <a:off x="8964624" y="4136259"/>
              <a:ext cx="1643570" cy="2423346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CAD24E3E-157D-2348-9D74-1CE3B11E9E20}"/>
              </a:ext>
            </a:extLst>
          </p:cNvPr>
          <p:cNvSpPr txBox="1"/>
          <p:nvPr/>
        </p:nvSpPr>
        <p:spPr>
          <a:xfrm>
            <a:off x="5038873" y="3647598"/>
            <a:ext cx="5321831" cy="3426579"/>
          </a:xfrm>
          <a:prstGeom prst="rect">
            <a:avLst/>
          </a:prstGeom>
          <a:noFill/>
        </p:spPr>
        <p:txBody>
          <a:bodyPr wrap="square" lIns="216000" rtlCol="0">
            <a:spAutoFit/>
          </a:bodyPr>
          <a:lstStyle>
            <a:defPPr marL="0" marR="0" indent="0" algn="l" defTabSz="89553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spcBef>
                <a:spcPts val="1200"/>
              </a:spcBef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>
              <a:lnSpc>
                <a:spcPts val="5180"/>
              </a:lnSpc>
              <a:spcBef>
                <a:spcPts val="0"/>
              </a:spcBef>
              <a:defRPr/>
            </a:pP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евременно</a:t>
            </a:r>
          </a:p>
          <a:p>
            <a:pPr>
              <a:lnSpc>
                <a:spcPts val="5180"/>
              </a:lnSpc>
              <a:spcBef>
                <a:spcPts val="0"/>
              </a:spcBef>
              <a:defRPr/>
            </a:pP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новляйте </a:t>
            </a:r>
            <a:b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ное</a:t>
            </a:r>
          </a:p>
          <a:p>
            <a:pPr>
              <a:lnSpc>
                <a:spcPts val="5180"/>
              </a:lnSpc>
              <a:spcBef>
                <a:spcPts val="0"/>
              </a:spcBef>
              <a:defRPr/>
            </a:pP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b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антивирус</a:t>
            </a:r>
          </a:p>
        </p:txBody>
      </p:sp>
      <p:sp>
        <p:nvSpPr>
          <p:cNvPr id="20" name="Shape">
            <a:extLst>
              <a:ext uri="{FF2B5EF4-FFF2-40B4-BE49-F238E27FC236}">
                <a16:creationId xmlns:a16="http://schemas.microsoft.com/office/drawing/2014/main" id="{567D6D81-39CD-CF47-AE8A-320F8B3FDB3D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075703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606859C-2162-E64D-A904-379C1BF4A8A0}"/>
              </a:ext>
            </a:extLst>
          </p:cNvPr>
          <p:cNvSpPr/>
          <p:nvPr/>
        </p:nvSpPr>
        <p:spPr>
          <a:xfrm>
            <a:off x="521905" y="424633"/>
            <a:ext cx="263084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</a:t>
            </a: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4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635E8A4-3146-D94A-8F65-20178C5A3C35}"/>
              </a:ext>
            </a:extLst>
          </p:cNvPr>
          <p:cNvSpPr/>
          <p:nvPr/>
        </p:nvSpPr>
        <p:spPr>
          <a:xfrm>
            <a:off x="6933067" y="1132519"/>
            <a:ext cx="6714549" cy="386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ru-RU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НЕ ПОПАСТЬСЯ</a:t>
            </a:r>
          </a:p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ru-RU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УЛОВКИ МОШЕННИКОВ?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B8664E58-657A-5A4A-81BE-3AE02C9FE09F}"/>
              </a:ext>
            </a:extLst>
          </p:cNvPr>
          <p:cNvCxnSpPr>
            <a:cxnSpLocks/>
          </p:cNvCxnSpPr>
          <p:nvPr/>
        </p:nvCxnSpPr>
        <p:spPr>
          <a:xfrm>
            <a:off x="6652479" y="1331089"/>
            <a:ext cx="0" cy="342049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CADA1D7-C8A4-ED45-9211-82B2D0D5816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0A4828F6-5AA4-1340-AB68-B57150BF79DF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591836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606859C-2162-E64D-A904-379C1BF4A8A0}"/>
              </a:ext>
            </a:extLst>
          </p:cNvPr>
          <p:cNvSpPr/>
          <p:nvPr/>
        </p:nvSpPr>
        <p:spPr>
          <a:xfrm>
            <a:off x="521905" y="424633"/>
            <a:ext cx="263084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1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635E8A4-3146-D94A-8F65-20178C5A3C35}"/>
              </a:ext>
            </a:extLst>
          </p:cNvPr>
          <p:cNvSpPr/>
          <p:nvPr/>
        </p:nvSpPr>
        <p:spPr>
          <a:xfrm>
            <a:off x="6834113" y="1625733"/>
            <a:ext cx="6152677" cy="2939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ИЕ </a:t>
            </a:r>
            <a:b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Ы</a:t>
            </a:r>
            <a:endParaRPr lang="ru-RU" sz="6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ct val="0"/>
              </a:spcBef>
              <a:spcAft>
                <a:spcPts val="600"/>
              </a:spcAft>
            </a:pPr>
            <a:r>
              <a:rPr lang="en-US" sz="60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en-US" sz="6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СЛУГИ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33B0FB2F-8D7F-EB40-A272-A13A87DA4CF1}"/>
              </a:ext>
            </a:extLst>
          </p:cNvPr>
          <p:cNvCxnSpPr>
            <a:cxnSpLocks/>
          </p:cNvCxnSpPr>
          <p:nvPr/>
        </p:nvCxnSpPr>
        <p:spPr>
          <a:xfrm>
            <a:off x="6562404" y="1893089"/>
            <a:ext cx="0" cy="240455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8C75B171-F1D8-CA47-B1B9-7661ADCFD76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2DAD365-F0C6-964D-B1C9-EA35D8114007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39547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>
            <a:extLst>
              <a:ext uri="{FF2B5EF4-FFF2-40B4-BE49-F238E27FC236}">
                <a16:creationId xmlns:a16="http://schemas.microsoft.com/office/drawing/2014/main" id="{8BAECC66-39C3-0043-AAB6-C765596157DD}"/>
              </a:ext>
            </a:extLst>
          </p:cNvPr>
          <p:cNvSpPr/>
          <p:nvPr/>
        </p:nvSpPr>
        <p:spPr>
          <a:xfrm>
            <a:off x="295276" y="1250667"/>
            <a:ext cx="3436970" cy="6098327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295276" y="291390"/>
            <a:ext cx="7830169" cy="63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792" tIns="67396" rIns="134792" bIns="673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ru-RU" sz="40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Helvetica Light"/>
                <a:cs typeface="Arial" panose="020B0604020202020204" pitchFamily="34" charset="0"/>
              </a:rPr>
              <a:t>ЧТО НУЖНО ЗНАТЬ </a:t>
            </a:r>
            <a:br>
              <a:rPr lang="ru-RU" sz="40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Helvetica Light"/>
                <a:cs typeface="Arial" panose="020B0604020202020204" pitchFamily="34" charset="0"/>
              </a:rPr>
            </a:br>
            <a:r>
              <a:rPr lang="ru-RU" sz="4000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ea typeface="Helvetica Light"/>
                <a:cs typeface="Arial" panose="020B0604020202020204" pitchFamily="34" charset="0"/>
              </a:rPr>
              <a:t>О МОШЕННИЧЕСТВЕ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178828" y="1448412"/>
            <a:ext cx="9234364" cy="24561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792" tIns="67396" rIns="134792" bIns="6739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L="0" marR="0" indent="0" algn="l" defTabSz="89553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l" defTabSz="444753" rtl="0" eaLnBrk="1" fontAlgn="auto" latinLnBrk="0" hangingPunct="0">
              <a:lnSpc>
                <a:spcPts val="4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оциальная инженерия</a:t>
            </a:r>
            <a:r>
              <a:rPr lang="ru-RU" sz="40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– </a:t>
            </a:r>
          </a:p>
          <a:p>
            <a:pPr lvl="0" algn="l">
              <a:lnSpc>
                <a:spcPts val="4600"/>
              </a:lnSpc>
              <a:defRPr/>
            </a:pPr>
            <a:r>
              <a:rPr lang="ru-RU" sz="40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оздействие мошенников на людей, при котором люди собственными руками отдают свои деньги или сообщают данные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78827" y="4849613"/>
            <a:ext cx="8967829" cy="23696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4792" tIns="67396" rIns="134792" bIns="6739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 marL="0" marR="0" indent="0" algn="l" defTabSz="89553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lnSpc>
                <a:spcPts val="4500"/>
              </a:lnSpc>
              <a:defRPr/>
            </a:pP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Мошенничество по телефону</a:t>
            </a:r>
            <a:r>
              <a:rPr lang="ru-RU" sz="40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– </a:t>
            </a:r>
          </a:p>
          <a:p>
            <a:pPr algn="l">
              <a:lnSpc>
                <a:spcPts val="4500"/>
              </a:lnSpc>
              <a:defRPr/>
            </a:pPr>
            <a:r>
              <a:rPr lang="ru-RU" sz="40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ид социальной инженерии, при котором злоумышленники звонят Вам или просят им позвонить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5D946F56-89DB-E344-8370-D87FD99B40C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16D7D5CE-449E-674E-BD28-DB914943B3EE}"/>
              </a:ext>
            </a:extLst>
          </p:cNvPr>
          <p:cNvSpPr/>
          <p:nvPr/>
        </p:nvSpPr>
        <p:spPr>
          <a:xfrm>
            <a:off x="658110" y="1448412"/>
            <a:ext cx="2711302" cy="271130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A427907D-F569-414B-A6E6-646BB9058F82}"/>
              </a:ext>
            </a:extLst>
          </p:cNvPr>
          <p:cNvSpPr/>
          <p:nvPr/>
        </p:nvSpPr>
        <p:spPr>
          <a:xfrm>
            <a:off x="658110" y="4489324"/>
            <a:ext cx="2711302" cy="271130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4950FAD-D49A-EA4E-9CEE-27B44C9262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442" y="1631249"/>
            <a:ext cx="2328753" cy="234562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6DB7C50-30E1-F040-8C9D-D538DC924BC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935442" y="4759243"/>
            <a:ext cx="2157202" cy="2171464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C15C919-EBC7-F14E-918A-7F05B73B6015}"/>
              </a:ext>
            </a:extLst>
          </p:cNvPr>
          <p:cNvSpPr/>
          <p:nvPr/>
        </p:nvSpPr>
        <p:spPr>
          <a:xfrm rot="20880511">
            <a:off x="1513079" y="5064512"/>
            <a:ext cx="806435" cy="312219"/>
          </a:xfrm>
          <a:prstGeom prst="rect">
            <a:avLst/>
          </a:prstGeom>
          <a:solidFill>
            <a:srgbClr val="EE81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634DAC-F96F-534F-BC5C-7BCD18C24D07}"/>
              </a:ext>
            </a:extLst>
          </p:cNvPr>
          <p:cNvSpPr txBox="1"/>
          <p:nvPr/>
        </p:nvSpPr>
        <p:spPr>
          <a:xfrm rot="20878806">
            <a:off x="1078095" y="5020567"/>
            <a:ext cx="1676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9000</a:t>
            </a:r>
          </a:p>
        </p:txBody>
      </p:sp>
      <p:sp>
        <p:nvSpPr>
          <p:cNvPr id="15" name="Shape">
            <a:extLst>
              <a:ext uri="{FF2B5EF4-FFF2-40B4-BE49-F238E27FC236}">
                <a16:creationId xmlns:a16="http://schemas.microsoft.com/office/drawing/2014/main" id="{96089864-8644-364F-8869-F192114AE2E1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78119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3">
            <a:extLst>
              <a:ext uri="{FF2B5EF4-FFF2-40B4-BE49-F238E27FC236}">
                <a16:creationId xmlns:a16="http://schemas.microsoft.com/office/drawing/2014/main" id="{DB48B278-EEB3-BA45-829B-84D2CBC988F4}"/>
              </a:ext>
            </a:extLst>
          </p:cNvPr>
          <p:cNvSpPr/>
          <p:nvPr/>
        </p:nvSpPr>
        <p:spPr>
          <a:xfrm>
            <a:off x="7979816" y="1218200"/>
            <a:ext cx="5390192" cy="6252830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57D0F6D-F300-F441-AD6E-105F154C2623}"/>
              </a:ext>
            </a:extLst>
          </p:cNvPr>
          <p:cNvSpPr/>
          <p:nvPr/>
        </p:nvSpPr>
        <p:spPr>
          <a:xfrm>
            <a:off x="8434465" y="2872685"/>
            <a:ext cx="3731345" cy="37653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8" name="Облако 27">
            <a:extLst>
              <a:ext uri="{FF2B5EF4-FFF2-40B4-BE49-F238E27FC236}">
                <a16:creationId xmlns:a16="http://schemas.microsoft.com/office/drawing/2014/main" id="{38904146-4FB8-8D40-8E8C-02B98E3847D4}"/>
              </a:ext>
            </a:extLst>
          </p:cNvPr>
          <p:cNvSpPr/>
          <p:nvPr/>
        </p:nvSpPr>
        <p:spPr>
          <a:xfrm rot="930786">
            <a:off x="11007396" y="1731017"/>
            <a:ext cx="1947593" cy="1216232"/>
          </a:xfrm>
          <a:prstGeom prst="cloud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247240" y="1028028"/>
            <a:ext cx="7764968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base"/>
            <a:r>
              <a:rPr lang="ru-RU" sz="4400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принцип всех атак </a:t>
            </a:r>
            <a:br>
              <a:rPr lang="ru-RU" sz="4400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400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введение в заблуждение </a:t>
            </a:r>
            <a:br>
              <a:rPr lang="ru-RU" sz="4400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400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требование срочного решения</a:t>
            </a:r>
          </a:p>
          <a:p>
            <a:pPr algn="l" fontAlgn="base"/>
            <a:endParaRPr lang="ru-RU" sz="32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fontAlgn="base"/>
            <a:r>
              <a:rPr lang="ru-RU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лоумышленники могут применять различные техники, направленные </a:t>
            </a:r>
            <a:br>
              <a:rPr lang="ru-RU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эмоции, слабости или иные особенности личности</a:t>
            </a:r>
            <a:endParaRPr lang="en-US" sz="4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Заголовок 6"/>
          <p:cNvSpPr>
            <a:spLocks noGrp="1"/>
          </p:cNvSpPr>
          <p:nvPr>
            <p:ph type="title" idx="4294967295"/>
          </p:nvPr>
        </p:nvSpPr>
        <p:spPr>
          <a:xfrm>
            <a:off x="192842" y="201132"/>
            <a:ext cx="9115425" cy="1547309"/>
          </a:xfrm>
          <a:prstGeom prst="rect">
            <a:avLst/>
          </a:prstGeom>
        </p:spPr>
        <p:txBody>
          <a:bodyPr/>
          <a:lstStyle/>
          <a:p>
            <a:pPr defTabSz="1010961">
              <a:lnSpc>
                <a:spcPts val="4300"/>
              </a:lnSpc>
              <a:spcBef>
                <a:spcPts val="0"/>
              </a:spcBef>
              <a:defRPr/>
            </a:pPr>
            <a:r>
              <a:rPr lang="ru-RU" alt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Light"/>
              </a:rPr>
              <a:t>МОШЕННИЧЕСТВО ПО ТЕЛЕФОНУ</a:t>
            </a:r>
            <a:endParaRPr lang="ru-RU" sz="4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42" name="TextBox 41"/>
          <p:cNvSpPr txBox="1"/>
          <p:nvPr/>
        </p:nvSpPr>
        <p:spPr>
          <a:xfrm rot="508186">
            <a:off x="11183155" y="2040301"/>
            <a:ext cx="16257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бовь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9D14067-1D68-0249-8028-D7DC0E15568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18" name="Shape">
            <a:extLst>
              <a:ext uri="{FF2B5EF4-FFF2-40B4-BE49-F238E27FC236}">
                <a16:creationId xmlns:a16="http://schemas.microsoft.com/office/drawing/2014/main" id="{35E34CC5-7047-A840-B7B8-47425405FCD3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174EA731-5BD1-6446-987A-930296F1DBDA}"/>
              </a:ext>
            </a:extLst>
          </p:cNvPr>
          <p:cNvGrpSpPr/>
          <p:nvPr/>
        </p:nvGrpSpPr>
        <p:grpSpPr>
          <a:xfrm>
            <a:off x="9127596" y="2681905"/>
            <a:ext cx="2872956" cy="3888180"/>
            <a:chOff x="7986653" y="2188022"/>
            <a:chExt cx="2872956" cy="3888180"/>
          </a:xfrm>
        </p:grpSpPr>
        <p:pic>
          <p:nvPicPr>
            <p:cNvPr id="20" name="Рисунок 19" descr="Изображение выглядит как женщина, человек&#10;&#10;Автоматически созданное описание">
              <a:extLst>
                <a:ext uri="{FF2B5EF4-FFF2-40B4-BE49-F238E27FC236}">
                  <a16:creationId xmlns:a16="http://schemas.microsoft.com/office/drawing/2014/main" id="{888B7027-10A3-F844-8644-666FABD5EA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86653" y="2188022"/>
              <a:ext cx="2872956" cy="3888180"/>
            </a:xfrm>
            <a:prstGeom prst="rect">
              <a:avLst/>
            </a:prstGeom>
          </p:spPr>
        </p:pic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1930F71B-19E7-874D-8BB0-19AF528B2CD7}"/>
                </a:ext>
              </a:extLst>
            </p:cNvPr>
            <p:cNvSpPr/>
            <p:nvPr/>
          </p:nvSpPr>
          <p:spPr>
            <a:xfrm>
              <a:off x="8296835" y="3640728"/>
              <a:ext cx="638736" cy="433731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734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9CBAECED-3CE1-DA49-8FD8-A59652522442}"/>
                </a:ext>
              </a:extLst>
            </p:cNvPr>
            <p:cNvSpPr/>
            <p:nvPr/>
          </p:nvSpPr>
          <p:spPr>
            <a:xfrm>
              <a:off x="8283388" y="2995538"/>
              <a:ext cx="638736" cy="695539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8" tIns="52209" rIns="104418" bIns="52209" rtlCol="0" anchor="t"/>
            <a:lstStyle/>
            <a:p>
              <a:pPr algn="ctr" defTabSz="1043734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5" name="Облако 14">
            <a:extLst>
              <a:ext uri="{FF2B5EF4-FFF2-40B4-BE49-F238E27FC236}">
                <a16:creationId xmlns:a16="http://schemas.microsoft.com/office/drawing/2014/main" id="{39071E1D-8615-D24C-90A4-7FE37C9611F2}"/>
              </a:ext>
            </a:extLst>
          </p:cNvPr>
          <p:cNvSpPr/>
          <p:nvPr/>
        </p:nvSpPr>
        <p:spPr>
          <a:xfrm rot="20585496">
            <a:off x="7559791" y="1634607"/>
            <a:ext cx="3276747" cy="2104343"/>
          </a:xfrm>
          <a:prstGeom prst="cloud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 rot="20080747">
            <a:off x="8111575" y="1909838"/>
            <a:ext cx="2824943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fontAlgn="base">
              <a:lnSpc>
                <a:spcPts val="2660"/>
              </a:lnSpc>
              <a:buClr>
                <a:srgbClr val="80B628"/>
              </a:buClr>
            </a:pPr>
            <a:r>
              <a:rPr lang="ru-RU" sz="2800" b="1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ание </a:t>
            </a:r>
            <a:endParaRPr lang="en-US" sz="2800" b="1" dirty="0">
              <a:solidFill>
                <a:srgbClr val="EE81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l" fontAlgn="base">
              <a:lnSpc>
                <a:spcPts val="2660"/>
              </a:lnSpc>
              <a:buClr>
                <a:srgbClr val="80B628"/>
              </a:buClr>
            </a:pPr>
            <a:r>
              <a:rPr lang="ru-RU" sz="2800" b="1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стрых </a:t>
            </a:r>
            <a:endParaRPr lang="en-US" sz="2800" b="1" dirty="0">
              <a:solidFill>
                <a:srgbClr val="EE81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l" fontAlgn="base">
              <a:lnSpc>
                <a:spcPts val="2660"/>
              </a:lnSpc>
              <a:buClr>
                <a:srgbClr val="80B628"/>
              </a:buClr>
            </a:pPr>
            <a:r>
              <a:rPr lang="ru-RU" sz="2800" b="1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в</a:t>
            </a:r>
            <a:r>
              <a:rPr lang="ru-RU" sz="2800" b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0" name="Облако 29">
            <a:extLst>
              <a:ext uri="{FF2B5EF4-FFF2-40B4-BE49-F238E27FC236}">
                <a16:creationId xmlns:a16="http://schemas.microsoft.com/office/drawing/2014/main" id="{93D47743-FD06-4743-BFC4-C2804F96D821}"/>
              </a:ext>
            </a:extLst>
          </p:cNvPr>
          <p:cNvSpPr/>
          <p:nvPr/>
        </p:nvSpPr>
        <p:spPr>
          <a:xfrm rot="21337017">
            <a:off x="11551033" y="3252043"/>
            <a:ext cx="1480587" cy="1088562"/>
          </a:xfrm>
          <a:prstGeom prst="cloud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TextBox 51"/>
          <p:cNvSpPr txBox="1"/>
          <p:nvPr/>
        </p:nvSpPr>
        <p:spPr>
          <a:xfrm rot="20937769">
            <a:off x="11709469" y="3515327"/>
            <a:ext cx="107433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нь</a:t>
            </a:r>
          </a:p>
        </p:txBody>
      </p:sp>
      <p:sp>
        <p:nvSpPr>
          <p:cNvPr id="31" name="Облако 30">
            <a:extLst>
              <a:ext uri="{FF2B5EF4-FFF2-40B4-BE49-F238E27FC236}">
                <a16:creationId xmlns:a16="http://schemas.microsoft.com/office/drawing/2014/main" id="{D487F5F5-2476-624C-BF8B-DE5BFC065457}"/>
              </a:ext>
            </a:extLst>
          </p:cNvPr>
          <p:cNvSpPr/>
          <p:nvPr/>
        </p:nvSpPr>
        <p:spPr>
          <a:xfrm rot="822773">
            <a:off x="10782970" y="5589629"/>
            <a:ext cx="2522835" cy="1467725"/>
          </a:xfrm>
          <a:prstGeom prst="cloud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 rot="508912">
            <a:off x="10959378" y="5931076"/>
            <a:ext cx="234109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fontAlgn="base">
              <a:lnSpc>
                <a:spcPts val="2660"/>
              </a:lnSpc>
              <a:buClr>
                <a:srgbClr val="80B628"/>
              </a:buClr>
            </a:pPr>
            <a:r>
              <a:rPr lang="ru-RU" sz="2800" b="1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чувствие </a:t>
            </a:r>
            <a:endParaRPr lang="en-US" sz="2800" b="1" dirty="0">
              <a:solidFill>
                <a:srgbClr val="EE813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l" fontAlgn="base">
              <a:lnSpc>
                <a:spcPts val="2660"/>
              </a:lnSpc>
              <a:buClr>
                <a:srgbClr val="80B628"/>
              </a:buClr>
            </a:pPr>
            <a:r>
              <a:rPr lang="ru-RU" sz="2800" b="1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жалость</a:t>
            </a:r>
          </a:p>
        </p:txBody>
      </p:sp>
      <p:sp>
        <p:nvSpPr>
          <p:cNvPr id="32" name="Облако 31">
            <a:extLst>
              <a:ext uri="{FF2B5EF4-FFF2-40B4-BE49-F238E27FC236}">
                <a16:creationId xmlns:a16="http://schemas.microsoft.com/office/drawing/2014/main" id="{E2746094-40B0-4841-B653-4BC1BCCA20EE}"/>
              </a:ext>
            </a:extLst>
          </p:cNvPr>
          <p:cNvSpPr/>
          <p:nvPr/>
        </p:nvSpPr>
        <p:spPr>
          <a:xfrm rot="21380684">
            <a:off x="8045494" y="6205495"/>
            <a:ext cx="2794637" cy="1346944"/>
          </a:xfrm>
          <a:prstGeom prst="cloud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TextBox 50"/>
          <p:cNvSpPr txBox="1"/>
          <p:nvPr/>
        </p:nvSpPr>
        <p:spPr>
          <a:xfrm rot="21189505">
            <a:off x="8211649" y="6453559"/>
            <a:ext cx="259718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пытность</a:t>
            </a:r>
          </a:p>
          <a:p>
            <a:r>
              <a:rPr lang="ru-RU" sz="2800" b="1" dirty="0">
                <a:solidFill>
                  <a:srgbClr val="EE813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дность</a:t>
            </a:r>
          </a:p>
        </p:txBody>
      </p:sp>
    </p:spTree>
    <p:extLst>
      <p:ext uri="{BB962C8B-B14F-4D97-AF65-F5344CB8AC3E}">
        <p14:creationId xmlns:p14="http://schemas.microsoft.com/office/powerpoint/2010/main" val="41545321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319088"/>
            <a:ext cx="11296650" cy="584200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3200"/>
              </a:lnSpc>
            </a:pPr>
            <a:r>
              <a:rPr lang="ru-RU" sz="3600" kern="12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cs typeface="Arial" charset="0"/>
              </a:rPr>
              <a:t>КАК ПОНЯТЬ, ЧТО ЗВОНИТ МОШЕННИК?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316" y="2668981"/>
            <a:ext cx="3014662" cy="271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Номер слайда 2">
            <a:extLst>
              <a:ext uri="{FF2B5EF4-FFF2-40B4-BE49-F238E27FC236}">
                <a16:creationId xmlns:a16="http://schemas.microsoft.com/office/drawing/2014/main" id="{4DDE1E68-6F91-6044-8FCE-673F798B5C88}"/>
              </a:ext>
            </a:extLst>
          </p:cNvPr>
          <p:cNvSpPr txBox="1">
            <a:spLocks/>
          </p:cNvSpPr>
          <p:nvPr/>
        </p:nvSpPr>
        <p:spPr>
          <a:xfrm>
            <a:off x="12034836" y="7218363"/>
            <a:ext cx="1301750" cy="257175"/>
          </a:xfrm>
          <a:prstGeom prst="rect">
            <a:avLst/>
          </a:prstGeom>
        </p:spPr>
        <p:txBody>
          <a:bodyPr lIns="89557" tIns="0" rIns="89557" bIns="44793"/>
          <a:lstStyle>
            <a:defPPr marL="0" marR="0" indent="0" algn="l" defTabSz="895531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4475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0" algn="ctr" defTabSz="44475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0" algn="ctr" defTabSz="44475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0" algn="ctr" defTabSz="44475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0" algn="ctr" defTabSz="44475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0" algn="ctr" defTabSz="44475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0" algn="ctr" defTabSz="44475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0" algn="ctr" defTabSz="44475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0" algn="ctr" defTabSz="44475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0" marR="0" lvl="0" indent="0" algn="r" defTabSz="44475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ru-RU" sz="20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pPr marL="0" marR="0" lvl="0" indent="0" algn="r" defTabSz="44475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108336F5-E4A9-D544-87CD-F8C66541D5A9}"/>
              </a:ext>
            </a:extLst>
          </p:cNvPr>
          <p:cNvGrpSpPr/>
          <p:nvPr/>
        </p:nvGrpSpPr>
        <p:grpSpPr>
          <a:xfrm>
            <a:off x="3914675" y="1319046"/>
            <a:ext cx="9201857" cy="5837496"/>
            <a:chOff x="3914675" y="1319046"/>
            <a:chExt cx="9201857" cy="5837496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BB87D5BA-A26F-D74E-9DDD-78BF4F9B2FD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14675" y="1319046"/>
              <a:ext cx="821471" cy="5837495"/>
              <a:chOff x="4518091" y="1577056"/>
              <a:chExt cx="315993" cy="2245494"/>
            </a:xfrm>
          </p:grpSpPr>
          <p:grpSp>
            <p:nvGrpSpPr>
              <p:cNvPr id="4" name="Группа 3">
                <a:extLst>
                  <a:ext uri="{FF2B5EF4-FFF2-40B4-BE49-F238E27FC236}">
                    <a16:creationId xmlns:a16="http://schemas.microsoft.com/office/drawing/2014/main" id="{F71512AD-C84E-5847-875F-9EE1A3F09FF6}"/>
                  </a:ext>
                </a:extLst>
              </p:cNvPr>
              <p:cNvGrpSpPr/>
              <p:nvPr/>
            </p:nvGrpSpPr>
            <p:grpSpPr>
              <a:xfrm>
                <a:off x="4518091" y="1577056"/>
                <a:ext cx="315993" cy="360443"/>
                <a:chOff x="4618674" y="982083"/>
                <a:chExt cx="315993" cy="360443"/>
              </a:xfrm>
            </p:grpSpPr>
            <p:sp>
              <p:nvSpPr>
                <p:cNvPr id="3" name="Овал 2"/>
                <p:cNvSpPr/>
                <p:nvPr/>
              </p:nvSpPr>
              <p:spPr>
                <a:xfrm>
                  <a:off x="4618674" y="1026533"/>
                  <a:ext cx="315993" cy="315993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4418" tIns="52209" rIns="104418" bIns="52209" rtlCol="0" anchor="t"/>
                <a:lstStyle/>
                <a:p>
                  <a:pPr marL="0" marR="0" lvl="0" indent="0" algn="ctr" defTabSz="104373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  <a:sym typeface="Helvetica Light"/>
                  </a:endParaRPr>
                </a:p>
              </p:txBody>
            </p:sp>
            <p:sp>
              <p:nvSpPr>
                <p:cNvPr id="5" name="TextBox 4"/>
                <p:cNvSpPr txBox="1"/>
                <p:nvPr/>
              </p:nvSpPr>
              <p:spPr>
                <a:xfrm>
                  <a:off x="4657253" y="982083"/>
                  <a:ext cx="229058" cy="3062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4475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sym typeface="Helvetica Light"/>
                    </a:rPr>
                    <a:t>1</a:t>
                  </a:r>
                  <a:endParaRPr kumimoji="0" lang="ru-RU" sz="4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sym typeface="Helvetica Light"/>
                  </a:endParaRPr>
                </a:p>
              </p:txBody>
            </p:sp>
          </p:grpSp>
          <p:grpSp>
            <p:nvGrpSpPr>
              <p:cNvPr id="28" name="Группа 27"/>
              <p:cNvGrpSpPr/>
              <p:nvPr/>
            </p:nvGrpSpPr>
            <p:grpSpPr>
              <a:xfrm>
                <a:off x="4518091" y="2042864"/>
                <a:ext cx="315993" cy="366793"/>
                <a:chOff x="4197351" y="2535157"/>
                <a:chExt cx="315993" cy="366793"/>
              </a:xfrm>
            </p:grpSpPr>
            <p:sp>
              <p:nvSpPr>
                <p:cNvPr id="15" name="Овал 14"/>
                <p:cNvSpPr/>
                <p:nvPr/>
              </p:nvSpPr>
              <p:spPr>
                <a:xfrm>
                  <a:off x="4197351" y="2585957"/>
                  <a:ext cx="315993" cy="315993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4418" tIns="52209" rIns="104418" bIns="52209" rtlCol="0" anchor="t"/>
                <a:lstStyle/>
                <a:p>
                  <a:pPr marL="0" marR="0" lvl="0" indent="0" algn="ctr" defTabSz="104373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  <a:sym typeface="Helvetica Light"/>
                  </a:endParaRPr>
                </a:p>
              </p:txBody>
            </p:sp>
            <p:sp>
              <p:nvSpPr>
                <p:cNvPr id="16" name="TextBox 15"/>
                <p:cNvSpPr txBox="1"/>
                <p:nvPr/>
              </p:nvSpPr>
              <p:spPr>
                <a:xfrm>
                  <a:off x="4248630" y="2535157"/>
                  <a:ext cx="229058" cy="3062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4475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sym typeface="Helvetica Light"/>
                    </a:rPr>
                    <a:t>2</a:t>
                  </a:r>
                  <a:endParaRPr kumimoji="0" lang="ru-RU" sz="4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sym typeface="Helvetica Light"/>
                  </a:endParaRPr>
                </a:p>
              </p:txBody>
            </p:sp>
          </p:grpSp>
          <p:grpSp>
            <p:nvGrpSpPr>
              <p:cNvPr id="27" name="Группа 26"/>
              <p:cNvGrpSpPr/>
              <p:nvPr/>
            </p:nvGrpSpPr>
            <p:grpSpPr>
              <a:xfrm>
                <a:off x="4518091" y="2508672"/>
                <a:ext cx="315993" cy="360443"/>
                <a:chOff x="4216401" y="2884407"/>
                <a:chExt cx="315993" cy="360443"/>
              </a:xfrm>
            </p:grpSpPr>
            <p:sp>
              <p:nvSpPr>
                <p:cNvPr id="17" name="Овал 16"/>
                <p:cNvSpPr/>
                <p:nvPr/>
              </p:nvSpPr>
              <p:spPr>
                <a:xfrm>
                  <a:off x="4216401" y="2928857"/>
                  <a:ext cx="315993" cy="315993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4418" tIns="52209" rIns="104418" bIns="52209" rtlCol="0" anchor="t"/>
                <a:lstStyle/>
                <a:p>
                  <a:pPr marL="0" marR="0" lvl="0" indent="0" algn="ctr" defTabSz="104373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  <a:sym typeface="Helvetica Light"/>
                  </a:endParaRPr>
                </a:p>
              </p:txBody>
            </p:sp>
            <p:sp>
              <p:nvSpPr>
                <p:cNvPr id="18" name="TextBox 17"/>
                <p:cNvSpPr txBox="1"/>
                <p:nvPr/>
              </p:nvSpPr>
              <p:spPr>
                <a:xfrm>
                  <a:off x="4261330" y="2884407"/>
                  <a:ext cx="229058" cy="3062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4475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sym typeface="Helvetica Light"/>
                    </a:rPr>
                    <a:t>3</a:t>
                  </a:r>
                  <a:endParaRPr kumimoji="0" lang="ru-RU" sz="4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sym typeface="Helvetica Light"/>
                  </a:endParaRPr>
                </a:p>
              </p:txBody>
            </p:sp>
          </p:grpSp>
          <p:grpSp>
            <p:nvGrpSpPr>
              <p:cNvPr id="26" name="Группа 25"/>
              <p:cNvGrpSpPr/>
              <p:nvPr/>
            </p:nvGrpSpPr>
            <p:grpSpPr>
              <a:xfrm>
                <a:off x="4518091" y="2969014"/>
                <a:ext cx="315993" cy="360443"/>
                <a:chOff x="4231641" y="3219687"/>
                <a:chExt cx="315993" cy="360443"/>
              </a:xfrm>
            </p:grpSpPr>
            <p:sp>
              <p:nvSpPr>
                <p:cNvPr id="22" name="Овал 21"/>
                <p:cNvSpPr/>
                <p:nvPr/>
              </p:nvSpPr>
              <p:spPr>
                <a:xfrm>
                  <a:off x="4231641" y="3264137"/>
                  <a:ext cx="315993" cy="315993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4418" tIns="52209" rIns="104418" bIns="52209" rtlCol="0" anchor="t"/>
                <a:lstStyle/>
                <a:p>
                  <a:pPr marL="0" marR="0" lvl="0" indent="0" algn="ctr" defTabSz="104373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  <a:sym typeface="Helvetica Light"/>
                  </a:endParaRPr>
                </a:p>
              </p:txBody>
            </p:sp>
            <p:sp>
              <p:nvSpPr>
                <p:cNvPr id="23" name="TextBox 22"/>
                <p:cNvSpPr txBox="1"/>
                <p:nvPr/>
              </p:nvSpPr>
              <p:spPr>
                <a:xfrm>
                  <a:off x="4276570" y="3219687"/>
                  <a:ext cx="229058" cy="3062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4475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sym typeface="Helvetica Light"/>
                    </a:rPr>
                    <a:t>4</a:t>
                  </a:r>
                  <a:endParaRPr kumimoji="0" lang="ru-RU" sz="4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sym typeface="Helvetica Light"/>
                  </a:endParaRPr>
                </a:p>
              </p:txBody>
            </p:sp>
          </p:grpSp>
          <p:grpSp>
            <p:nvGrpSpPr>
              <p:cNvPr id="14" name="Группа 13"/>
              <p:cNvGrpSpPr/>
              <p:nvPr/>
            </p:nvGrpSpPr>
            <p:grpSpPr>
              <a:xfrm>
                <a:off x="4518091" y="3462107"/>
                <a:ext cx="315993" cy="360443"/>
                <a:chOff x="4231641" y="3554967"/>
                <a:chExt cx="315993" cy="360443"/>
              </a:xfrm>
            </p:grpSpPr>
            <p:sp>
              <p:nvSpPr>
                <p:cNvPr id="24" name="Овал 23"/>
                <p:cNvSpPr/>
                <p:nvPr/>
              </p:nvSpPr>
              <p:spPr>
                <a:xfrm>
                  <a:off x="4231641" y="3599417"/>
                  <a:ext cx="315993" cy="315993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4418" tIns="52209" rIns="104418" bIns="52209" rtlCol="0" anchor="t"/>
                <a:lstStyle/>
                <a:p>
                  <a:pPr marL="0" marR="0" lvl="0" indent="0" algn="ctr" defTabSz="104373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+mn-cs"/>
                    <a:sym typeface="Helvetica Light"/>
                  </a:endParaRPr>
                </a:p>
              </p:txBody>
            </p:sp>
            <p:sp>
              <p:nvSpPr>
                <p:cNvPr id="25" name="TextBox 24"/>
                <p:cNvSpPr txBox="1"/>
                <p:nvPr/>
              </p:nvSpPr>
              <p:spPr>
                <a:xfrm>
                  <a:off x="4276570" y="3554967"/>
                  <a:ext cx="229058" cy="3062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4475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4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sym typeface="Helvetica Light"/>
                    </a:rPr>
                    <a:t>5</a:t>
                  </a:r>
                  <a:endParaRPr kumimoji="0" lang="ru-RU" sz="4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sym typeface="Helvetica Light"/>
                  </a:endParaRPr>
                </a:p>
              </p:txBody>
            </p:sp>
          </p:grpSp>
        </p:grp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B468E7A0-4D99-0649-91F7-121392D0664A}"/>
                </a:ext>
              </a:extLst>
            </p:cNvPr>
            <p:cNvSpPr/>
            <p:nvPr/>
          </p:nvSpPr>
          <p:spPr>
            <a:xfrm>
              <a:off x="5059456" y="1319047"/>
              <a:ext cx="8057076" cy="58374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010961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Light"/>
                </a:rPr>
                <a:t>Незнакомый или скрытый номер телефона </a:t>
              </a:r>
            </a:p>
            <a:p>
              <a:pPr marL="0" marR="0" lvl="0" indent="0" algn="l" defTabSz="1010961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Light"/>
                </a:rPr>
                <a:t>Внезапность и требование быстрого принятия решения</a:t>
              </a:r>
            </a:p>
            <a:p>
              <a:pPr marL="0" marR="0" lvl="0" indent="0" algn="l" defTabSz="1010961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Light"/>
                </a:rPr>
                <a:t>Чрезмерная настойчивость или заискивание/уговаривание</a:t>
              </a:r>
            </a:p>
            <a:p>
              <a:pPr marL="0" marR="0" lvl="0" indent="0" algn="l" defTabSz="1010961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Light"/>
                </a:rPr>
                <a:t>Невнятность и нечеткость ответов     </a:t>
              </a:r>
              <a:b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Light"/>
                </a:rPr>
              </a:b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Light"/>
                </a:rPr>
                <a:t>на Ваши вопросы</a:t>
              </a:r>
            </a:p>
            <a:p>
              <a:pPr marL="0" marR="0" lvl="0" indent="0" algn="l" defTabSz="1010961" rtl="0" eaLnBrk="1" fontAlgn="auto" latinLnBrk="0" hangingPunct="1">
                <a:lnSpc>
                  <a:spcPct val="100000"/>
                </a:lnSpc>
                <a:spcBef>
                  <a:spcPts val="80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Helvetica Light"/>
                </a:rPr>
                <a:t>Интерес к Вашим данным под предлогом помощи (данные карты, пароль из СМС)</a:t>
              </a:r>
            </a:p>
          </p:txBody>
        </p:sp>
      </p:grpSp>
      <p:pic>
        <p:nvPicPr>
          <p:cNvPr id="30" name="Мультимедиа в Интернете 3" descr="AUDIO-2019-08-30-11-52-48.amr">
            <a:hlinkClick r:id="" action="ppaction://media"/>
            <a:extLst>
              <a:ext uri="{FF2B5EF4-FFF2-40B4-BE49-F238E27FC236}">
                <a16:creationId xmlns:a16="http://schemas.microsoft.com/office/drawing/2014/main" id="{41932438-8365-B64E-94E6-F6D340FF306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718247" y="5804797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3170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09640" fill="hold"/>
                                        <p:tgtEl>
                                          <p:spTgt spid="3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0"/>
                </p:tgtEl>
              </p:cMediaNode>
            </p:audio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3">
            <a:extLst>
              <a:ext uri="{FF2B5EF4-FFF2-40B4-BE49-F238E27FC236}">
                <a16:creationId xmlns:a16="http://schemas.microsoft.com/office/drawing/2014/main" id="{37954A1A-2711-444D-B2F3-D851FB932269}"/>
              </a:ext>
            </a:extLst>
          </p:cNvPr>
          <p:cNvSpPr/>
          <p:nvPr/>
        </p:nvSpPr>
        <p:spPr>
          <a:xfrm>
            <a:off x="6397734" y="2727547"/>
            <a:ext cx="6698938" cy="4773568"/>
          </a:xfrm>
          <a:prstGeom prst="rect">
            <a:avLst/>
          </a:prstGeom>
          <a:solidFill>
            <a:schemeClr val="accent2">
              <a:lumMod val="60000"/>
              <a:lumOff val="4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sp>
        <p:nvSpPr>
          <p:cNvPr id="53" name="Rectangle 3">
            <a:extLst>
              <a:ext uri="{FF2B5EF4-FFF2-40B4-BE49-F238E27FC236}">
                <a16:creationId xmlns:a16="http://schemas.microsoft.com/office/drawing/2014/main" id="{B6FD7F52-6139-C343-B5E3-30D451378131}"/>
              </a:ext>
            </a:extLst>
          </p:cNvPr>
          <p:cNvSpPr/>
          <p:nvPr/>
        </p:nvSpPr>
        <p:spPr>
          <a:xfrm>
            <a:off x="311823" y="2720687"/>
            <a:ext cx="5975962" cy="4780428"/>
          </a:xfrm>
          <a:prstGeom prst="rect">
            <a:avLst/>
          </a:prstGeom>
          <a:solidFill>
            <a:srgbClr val="92D0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75" dirty="0"/>
          </a:p>
        </p:txBody>
      </p: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4A782C2E-8875-6140-B3B8-B0579E5CFBBA}"/>
              </a:ext>
            </a:extLst>
          </p:cNvPr>
          <p:cNvGrpSpPr/>
          <p:nvPr/>
        </p:nvGrpSpPr>
        <p:grpSpPr>
          <a:xfrm rot="11490648">
            <a:off x="2373259" y="2504007"/>
            <a:ext cx="5070245" cy="4894301"/>
            <a:chOff x="1565369" y="2170380"/>
            <a:chExt cx="5070245" cy="4894301"/>
          </a:xfrm>
        </p:grpSpPr>
        <p:sp>
          <p:nvSpPr>
            <p:cNvPr id="119" name="Дуга 118">
              <a:extLst>
                <a:ext uri="{FF2B5EF4-FFF2-40B4-BE49-F238E27FC236}">
                  <a16:creationId xmlns:a16="http://schemas.microsoft.com/office/drawing/2014/main" id="{31D1A03E-F745-8840-A1D3-CAE57643942D}"/>
                </a:ext>
              </a:extLst>
            </p:cNvPr>
            <p:cNvSpPr/>
            <p:nvPr/>
          </p:nvSpPr>
          <p:spPr>
            <a:xfrm rot="3248944">
              <a:off x="2741990" y="2919437"/>
              <a:ext cx="3355759" cy="3476394"/>
            </a:xfrm>
            <a:prstGeom prst="arc">
              <a:avLst>
                <a:gd name="adj1" fmla="val 17090884"/>
                <a:gd name="adj2" fmla="val 20621167"/>
              </a:avLst>
            </a:prstGeom>
            <a:ln w="1905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0" name="Дуга 119">
              <a:extLst>
                <a:ext uri="{FF2B5EF4-FFF2-40B4-BE49-F238E27FC236}">
                  <a16:creationId xmlns:a16="http://schemas.microsoft.com/office/drawing/2014/main" id="{C288808B-6D91-7D42-A893-3C6B6A02D74E}"/>
                </a:ext>
              </a:extLst>
            </p:cNvPr>
            <p:cNvSpPr/>
            <p:nvPr/>
          </p:nvSpPr>
          <p:spPr>
            <a:xfrm rot="3280190">
              <a:off x="2235891" y="2550473"/>
              <a:ext cx="4073289" cy="4219718"/>
            </a:xfrm>
            <a:prstGeom prst="arc">
              <a:avLst>
                <a:gd name="adj1" fmla="val 17090884"/>
                <a:gd name="adj2" fmla="val 20621167"/>
              </a:avLst>
            </a:prstGeom>
            <a:ln w="1905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1" name="Дуга 120">
              <a:extLst>
                <a:ext uri="{FF2B5EF4-FFF2-40B4-BE49-F238E27FC236}">
                  <a16:creationId xmlns:a16="http://schemas.microsoft.com/office/drawing/2014/main" id="{FB280367-88F3-8B4B-AA85-27D90F80138E}"/>
                </a:ext>
              </a:extLst>
            </p:cNvPr>
            <p:cNvSpPr/>
            <p:nvPr/>
          </p:nvSpPr>
          <p:spPr>
            <a:xfrm rot="3339034">
              <a:off x="1653341" y="2082408"/>
              <a:ext cx="4894301" cy="5070245"/>
            </a:xfrm>
            <a:prstGeom prst="arc">
              <a:avLst>
                <a:gd name="adj1" fmla="val 17090884"/>
                <a:gd name="adj2" fmla="val 20621167"/>
              </a:avLst>
            </a:prstGeom>
            <a:ln w="1905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id="{2FE31346-4C05-0A4F-B81F-E085E329F2A2}"/>
              </a:ext>
            </a:extLst>
          </p:cNvPr>
          <p:cNvSpPr txBox="1">
            <a:spLocks/>
          </p:cNvSpPr>
          <p:nvPr/>
        </p:nvSpPr>
        <p:spPr>
          <a:xfrm>
            <a:off x="311823" y="202426"/>
            <a:ext cx="10115314" cy="577974"/>
          </a:xfrm>
          <a:prstGeom prst="rect">
            <a:avLst/>
          </a:prstGeom>
          <a:noFill/>
        </p:spPr>
        <p:txBody>
          <a:bodyPr lIns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010961">
              <a:lnSpc>
                <a:spcPts val="4300"/>
              </a:lnSpc>
              <a:spcBef>
                <a:spcPts val="0"/>
              </a:spcBef>
              <a:defRPr/>
            </a:pP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ТОДЫ ПРОТИВОДЕЙСТВИЯ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3077A06A-77C8-F34E-A729-D61EC31EB80E}"/>
              </a:ext>
            </a:extLst>
          </p:cNvPr>
          <p:cNvSpPr/>
          <p:nvPr/>
        </p:nvSpPr>
        <p:spPr>
          <a:xfrm>
            <a:off x="271226" y="860533"/>
            <a:ext cx="13002498" cy="1559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Aft>
                <a:spcPts val="400"/>
              </a:spcAft>
            </a:pP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бы отличить сотрудника банка, запишите номера банка в телефонную книгу, например, номер Сбербанка: </a:t>
            </a:r>
            <a:r>
              <a:rPr lang="ru-RU" sz="3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0</a:t>
            </a:r>
            <a:r>
              <a:rPr lang="ru-RU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800555-55-50</a:t>
            </a:r>
          </a:p>
          <a:p>
            <a:pPr algn="l"/>
            <a:r>
              <a:rPr lang="ru-RU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звонок будет с другого номера, он отобразится как неизвестный</a:t>
            </a: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9A06BB13-8F1E-2842-9386-1593C6FD096F}"/>
              </a:ext>
            </a:extLst>
          </p:cNvPr>
          <p:cNvGrpSpPr/>
          <p:nvPr/>
        </p:nvGrpSpPr>
        <p:grpSpPr>
          <a:xfrm>
            <a:off x="377560" y="2166517"/>
            <a:ext cx="5752484" cy="5277197"/>
            <a:chOff x="819808" y="2512419"/>
            <a:chExt cx="4588013" cy="4208938"/>
          </a:xfrm>
        </p:grpSpPr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BA8CD436-81DF-6349-BF2A-4AA9CB8CB995}"/>
                </a:ext>
              </a:extLst>
            </p:cNvPr>
            <p:cNvGrpSpPr/>
            <p:nvPr/>
          </p:nvGrpSpPr>
          <p:grpSpPr>
            <a:xfrm rot="381311">
              <a:off x="1420460" y="2512419"/>
              <a:ext cx="3987361" cy="4184069"/>
              <a:chOff x="1565369" y="2170380"/>
              <a:chExt cx="5070245" cy="4894301"/>
            </a:xfrm>
          </p:grpSpPr>
          <p:sp>
            <p:nvSpPr>
              <p:cNvPr id="33" name="Дуга 32">
                <a:extLst>
                  <a:ext uri="{FF2B5EF4-FFF2-40B4-BE49-F238E27FC236}">
                    <a16:creationId xmlns:a16="http://schemas.microsoft.com/office/drawing/2014/main" id="{4C43FCD5-280C-E448-A548-9DEA46864035}"/>
                  </a:ext>
                </a:extLst>
              </p:cNvPr>
              <p:cNvSpPr/>
              <p:nvPr/>
            </p:nvSpPr>
            <p:spPr>
              <a:xfrm rot="3248944">
                <a:off x="2741990" y="2919437"/>
                <a:ext cx="3355759" cy="3476394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1" name="Дуга 110">
                <a:extLst>
                  <a:ext uri="{FF2B5EF4-FFF2-40B4-BE49-F238E27FC236}">
                    <a16:creationId xmlns:a16="http://schemas.microsoft.com/office/drawing/2014/main" id="{69D1F57A-DCF3-A84D-B9CB-14390BBCDCE5}"/>
                  </a:ext>
                </a:extLst>
              </p:cNvPr>
              <p:cNvSpPr/>
              <p:nvPr/>
            </p:nvSpPr>
            <p:spPr>
              <a:xfrm rot="3280190">
                <a:off x="2235891" y="2550473"/>
                <a:ext cx="4073289" cy="4219718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12" name="Дуга 111">
                <a:extLst>
                  <a:ext uri="{FF2B5EF4-FFF2-40B4-BE49-F238E27FC236}">
                    <a16:creationId xmlns:a16="http://schemas.microsoft.com/office/drawing/2014/main" id="{DF1FEE63-1CD7-6A40-BFAE-9846A88E7D31}"/>
                  </a:ext>
                </a:extLst>
              </p:cNvPr>
              <p:cNvSpPr/>
              <p:nvPr/>
            </p:nvSpPr>
            <p:spPr>
              <a:xfrm rot="3339034">
                <a:off x="1653341" y="2082408"/>
                <a:ext cx="4894301" cy="5070245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8E102374-E28F-8149-B3C7-99E5FB5A7A9A}"/>
                </a:ext>
              </a:extLst>
            </p:cNvPr>
            <p:cNvGrpSpPr/>
            <p:nvPr/>
          </p:nvGrpSpPr>
          <p:grpSpPr>
            <a:xfrm>
              <a:off x="819808" y="3138095"/>
              <a:ext cx="4320419" cy="3583262"/>
              <a:chOff x="1276337" y="2899414"/>
              <a:chExt cx="4320419" cy="3583262"/>
            </a:xfrm>
          </p:grpSpPr>
          <p:grpSp>
            <p:nvGrpSpPr>
              <p:cNvPr id="31" name="Группа 30">
                <a:extLst>
                  <a:ext uri="{FF2B5EF4-FFF2-40B4-BE49-F238E27FC236}">
                    <a16:creationId xmlns:a16="http://schemas.microsoft.com/office/drawing/2014/main" id="{739C4CEC-B81D-F045-8451-A5B9921F34A8}"/>
                  </a:ext>
                </a:extLst>
              </p:cNvPr>
              <p:cNvGrpSpPr/>
              <p:nvPr/>
            </p:nvGrpSpPr>
            <p:grpSpPr>
              <a:xfrm>
                <a:off x="3167310" y="2899414"/>
                <a:ext cx="2429446" cy="3364845"/>
                <a:chOff x="3132102" y="2804282"/>
                <a:chExt cx="3160921" cy="4377957"/>
              </a:xfrm>
            </p:grpSpPr>
            <p:pic>
              <p:nvPicPr>
                <p:cNvPr id="97" name="Рисунок 96">
                  <a:extLst>
                    <a:ext uri="{FF2B5EF4-FFF2-40B4-BE49-F238E27FC236}">
                      <a16:creationId xmlns:a16="http://schemas.microsoft.com/office/drawing/2014/main" id="{7C8362ED-7F09-B543-B9FB-5839A6F7027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 rot="21416550">
                  <a:off x="3132102" y="2804282"/>
                  <a:ext cx="3160921" cy="4377957"/>
                </a:xfrm>
                <a:prstGeom prst="rect">
                  <a:avLst/>
                </a:prstGeom>
              </p:spPr>
            </p:pic>
            <p:grpSp>
              <p:nvGrpSpPr>
                <p:cNvPr id="11" name="Группа 10">
                  <a:extLst>
                    <a:ext uri="{FF2B5EF4-FFF2-40B4-BE49-F238E27FC236}">
                      <a16:creationId xmlns:a16="http://schemas.microsoft.com/office/drawing/2014/main" id="{ABB68A22-8D24-1247-B7D7-7D4FDE1BD711}"/>
                    </a:ext>
                  </a:extLst>
                </p:cNvPr>
                <p:cNvGrpSpPr/>
                <p:nvPr/>
              </p:nvGrpSpPr>
              <p:grpSpPr>
                <a:xfrm rot="539456">
                  <a:off x="3724681" y="3554422"/>
                  <a:ext cx="1908232" cy="2862348"/>
                  <a:chOff x="3617921" y="3065337"/>
                  <a:chExt cx="2713748" cy="4070622"/>
                </a:xfrm>
              </p:grpSpPr>
              <p:pic>
                <p:nvPicPr>
                  <p:cNvPr id="7" name="Рисунок 6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617921" y="3065337"/>
                    <a:ext cx="2713748" cy="4070622"/>
                  </a:xfrm>
                  <a:prstGeom prst="rect">
                    <a:avLst/>
                  </a:prstGeom>
                  <a:ln w="19050">
                    <a:noFill/>
                  </a:ln>
                </p:spPr>
              </p:pic>
              <p:sp>
                <p:nvSpPr>
                  <p:cNvPr id="94" name="Прямоугольник 93"/>
                  <p:cNvSpPr/>
                  <p:nvPr/>
                </p:nvSpPr>
                <p:spPr>
                  <a:xfrm>
                    <a:off x="3853982" y="3332293"/>
                    <a:ext cx="2241030" cy="821440"/>
                  </a:xfrm>
                  <a:prstGeom prst="rect">
                    <a:avLst/>
                  </a:prstGeom>
                  <a:noFill/>
                  <a:ln w="19050">
                    <a:solidFill>
                      <a:srgbClr val="BADD8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4418" tIns="52209" rIns="104418" bIns="52209" rtlCol="0" anchor="t"/>
                  <a:lstStyle/>
                  <a:p>
                    <a:pPr algn="ctr" defTabSz="1043734" hangingPunct="1"/>
                    <a:endParaRPr lang="ru-RU" sz="1300" kern="1200" dirty="0">
                      <a:noFill/>
                      <a:latin typeface="Calibri" panose="020F0502020204030204" pitchFamily="34" charset="0"/>
                    </a:endParaRPr>
                  </a:p>
                </p:txBody>
              </p:sp>
            </p:grpSp>
          </p:grpSp>
          <p:grpSp>
            <p:nvGrpSpPr>
              <p:cNvPr id="32" name="Группа 31">
                <a:extLst>
                  <a:ext uri="{FF2B5EF4-FFF2-40B4-BE49-F238E27FC236}">
                    <a16:creationId xmlns:a16="http://schemas.microsoft.com/office/drawing/2014/main" id="{6ED73B55-8202-F24C-8417-666D0B72ED40}"/>
                  </a:ext>
                </a:extLst>
              </p:cNvPr>
              <p:cNvGrpSpPr/>
              <p:nvPr/>
            </p:nvGrpSpPr>
            <p:grpSpPr>
              <a:xfrm>
                <a:off x="1276337" y="3117831"/>
                <a:ext cx="2429446" cy="3364845"/>
                <a:chOff x="924595" y="2996136"/>
                <a:chExt cx="3160921" cy="4377957"/>
              </a:xfrm>
            </p:grpSpPr>
            <p:pic>
              <p:nvPicPr>
                <p:cNvPr id="87" name="Рисунок 86">
                  <a:extLst>
                    <a:ext uri="{FF2B5EF4-FFF2-40B4-BE49-F238E27FC236}">
                      <a16:creationId xmlns:a16="http://schemas.microsoft.com/office/drawing/2014/main" id="{ABEB8E5C-930B-4B44-A9E2-7EA53ADE5B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 rot="20450517">
                  <a:off x="924595" y="2996136"/>
                  <a:ext cx="3160921" cy="4377957"/>
                </a:xfrm>
                <a:prstGeom prst="rect">
                  <a:avLst/>
                </a:prstGeom>
              </p:spPr>
            </p:pic>
            <p:pic>
              <p:nvPicPr>
                <p:cNvPr id="2" name="Рисунок 1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4421">
                  <a:off x="1497588" y="3759557"/>
                  <a:ext cx="1864168" cy="2796253"/>
                </a:xfrm>
                <a:prstGeom prst="rect">
                  <a:avLst/>
                </a:prstGeom>
                <a:ln>
                  <a:noFill/>
                </a:ln>
              </p:spPr>
            </p:pic>
            <p:cxnSp>
              <p:nvCxnSpPr>
                <p:cNvPr id="13" name="Прямая соединительная линия 12">
                  <a:extLst>
                    <a:ext uri="{FF2B5EF4-FFF2-40B4-BE49-F238E27FC236}">
                      <a16:creationId xmlns:a16="http://schemas.microsoft.com/office/drawing/2014/main" id="{1F642086-C9D1-B242-8269-1F06013F822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84291" y="3648309"/>
                  <a:ext cx="350615" cy="2794482"/>
                </a:xfrm>
                <a:prstGeom prst="line">
                  <a:avLst/>
                </a:prstGeom>
                <a:ln w="635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Прямая соединительная линия 95">
                  <a:extLst>
                    <a:ext uri="{FF2B5EF4-FFF2-40B4-BE49-F238E27FC236}">
                      <a16:creationId xmlns:a16="http://schemas.microsoft.com/office/drawing/2014/main" id="{0E0E880D-6602-EA4A-A6CE-00E849A62FE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696699" y="6437320"/>
                  <a:ext cx="1838208" cy="222884"/>
                </a:xfrm>
                <a:prstGeom prst="line">
                  <a:avLst/>
                </a:prstGeom>
                <a:ln w="6350">
                  <a:gradFill>
                    <a:gsLst>
                      <a:gs pos="100000">
                        <a:schemeClr val="accent1">
                          <a:lumMod val="5000"/>
                          <a:lumOff val="95000"/>
                          <a:alpha val="0"/>
                        </a:schemeClr>
                      </a:gs>
                      <a:gs pos="31000">
                        <a:schemeClr val="bg1">
                          <a:lumMod val="50000"/>
                        </a:schemeClr>
                      </a:gs>
                    </a:gsLst>
                    <a:lin ang="5400000" scaled="1"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Прямая соединительная линия 99">
                  <a:extLst>
                    <a:ext uri="{FF2B5EF4-FFF2-40B4-BE49-F238E27FC236}">
                      <a16:creationId xmlns:a16="http://schemas.microsoft.com/office/drawing/2014/main" id="{435F4BFC-5369-9940-8797-5A382CE58D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341363" y="3655163"/>
                  <a:ext cx="1838919" cy="235653"/>
                </a:xfrm>
                <a:prstGeom prst="line">
                  <a:avLst/>
                </a:prstGeom>
                <a:ln w="6350">
                  <a:gradFill>
                    <a:gsLst>
                      <a:gs pos="100000">
                        <a:schemeClr val="accent1">
                          <a:lumMod val="5000"/>
                          <a:lumOff val="95000"/>
                        </a:schemeClr>
                      </a:gs>
                      <a:gs pos="31000">
                        <a:schemeClr val="bg1">
                          <a:lumMod val="50000"/>
                        </a:schemeClr>
                      </a:gs>
                    </a:gsLst>
                    <a:lin ang="5400000" scaled="1"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E9E6DCB4-2595-FC4E-9606-B162EFC0AE63}"/>
              </a:ext>
            </a:extLst>
          </p:cNvPr>
          <p:cNvGrpSpPr/>
          <p:nvPr/>
        </p:nvGrpSpPr>
        <p:grpSpPr>
          <a:xfrm>
            <a:off x="6935324" y="2896754"/>
            <a:ext cx="5970174" cy="4962796"/>
            <a:chOff x="7072387" y="3648082"/>
            <a:chExt cx="4761636" cy="3958181"/>
          </a:xfrm>
        </p:grpSpPr>
        <p:grpSp>
          <p:nvGrpSpPr>
            <p:cNvPr id="122" name="Группа 121">
              <a:extLst>
                <a:ext uri="{FF2B5EF4-FFF2-40B4-BE49-F238E27FC236}">
                  <a16:creationId xmlns:a16="http://schemas.microsoft.com/office/drawing/2014/main" id="{DFE75654-B85E-6848-B1BC-BB0643EA77BA}"/>
                </a:ext>
              </a:extLst>
            </p:cNvPr>
            <p:cNvGrpSpPr/>
            <p:nvPr/>
          </p:nvGrpSpPr>
          <p:grpSpPr>
            <a:xfrm rot="9705187">
              <a:off x="7072387" y="3690169"/>
              <a:ext cx="2738361" cy="2643337"/>
              <a:chOff x="2162677" y="2623687"/>
              <a:chExt cx="4219718" cy="4073289"/>
            </a:xfrm>
          </p:grpSpPr>
          <p:sp>
            <p:nvSpPr>
              <p:cNvPr id="123" name="Дуга 122">
                <a:extLst>
                  <a:ext uri="{FF2B5EF4-FFF2-40B4-BE49-F238E27FC236}">
                    <a16:creationId xmlns:a16="http://schemas.microsoft.com/office/drawing/2014/main" id="{8F4FAE5C-70EA-BD4A-8C29-C0DE452F41EA}"/>
                  </a:ext>
                </a:extLst>
              </p:cNvPr>
              <p:cNvSpPr/>
              <p:nvPr/>
            </p:nvSpPr>
            <p:spPr>
              <a:xfrm rot="3248944">
                <a:off x="2741990" y="2919437"/>
                <a:ext cx="3355759" cy="3476394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4" name="Дуга 123">
                <a:extLst>
                  <a:ext uri="{FF2B5EF4-FFF2-40B4-BE49-F238E27FC236}">
                    <a16:creationId xmlns:a16="http://schemas.microsoft.com/office/drawing/2014/main" id="{52D097E3-AB6D-DA43-873D-14D0D2E43BCD}"/>
                  </a:ext>
                </a:extLst>
              </p:cNvPr>
              <p:cNvSpPr/>
              <p:nvPr/>
            </p:nvSpPr>
            <p:spPr>
              <a:xfrm rot="3280190">
                <a:off x="2235891" y="2550473"/>
                <a:ext cx="4073289" cy="4219718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D33EB94C-FEFE-F84B-9203-EFAA8938BD0D}"/>
                </a:ext>
              </a:extLst>
            </p:cNvPr>
            <p:cNvGrpSpPr/>
            <p:nvPr/>
          </p:nvGrpSpPr>
          <p:grpSpPr>
            <a:xfrm>
              <a:off x="7232886" y="3648082"/>
              <a:ext cx="2399491" cy="3323357"/>
              <a:chOff x="6777449" y="2720145"/>
              <a:chExt cx="3160921" cy="4377957"/>
            </a:xfrm>
          </p:grpSpPr>
          <p:pic>
            <p:nvPicPr>
              <p:cNvPr id="99" name="Рисунок 98">
                <a:extLst>
                  <a:ext uri="{FF2B5EF4-FFF2-40B4-BE49-F238E27FC236}">
                    <a16:creationId xmlns:a16="http://schemas.microsoft.com/office/drawing/2014/main" id="{EAD6A5A7-ABD8-734B-A53A-1775B37796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20657523">
                <a:off x="6777449" y="2720145"/>
                <a:ext cx="3160921" cy="4377957"/>
              </a:xfrm>
              <a:prstGeom prst="rect">
                <a:avLst/>
              </a:prstGeom>
            </p:spPr>
          </p:pic>
          <p:grpSp>
            <p:nvGrpSpPr>
              <p:cNvPr id="10" name="Группа 9">
                <a:extLst>
                  <a:ext uri="{FF2B5EF4-FFF2-40B4-BE49-F238E27FC236}">
                    <a16:creationId xmlns:a16="http://schemas.microsoft.com/office/drawing/2014/main" id="{FFC304C2-AD77-814E-BC36-4C5FA9B0EC31}"/>
                  </a:ext>
                </a:extLst>
              </p:cNvPr>
              <p:cNvGrpSpPr/>
              <p:nvPr/>
            </p:nvGrpSpPr>
            <p:grpSpPr>
              <a:xfrm rot="21386020">
                <a:off x="7349587" y="3467055"/>
                <a:ext cx="1923077" cy="2815779"/>
                <a:chOff x="6301174" y="3075950"/>
                <a:chExt cx="2706030" cy="4059045"/>
              </a:xfrm>
            </p:grpSpPr>
            <p:pic>
              <p:nvPicPr>
                <p:cNvPr id="6" name="Рисунок 5"/>
                <p:cNvPicPr>
                  <a:picLocks noChangeAspect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01174" y="3075950"/>
                  <a:ext cx="2706030" cy="4059045"/>
                </a:xfrm>
                <a:prstGeom prst="rect">
                  <a:avLst/>
                </a:prstGeom>
                <a:ln w="19050">
                  <a:noFill/>
                </a:ln>
              </p:spPr>
            </p:pic>
            <p:sp>
              <p:nvSpPr>
                <p:cNvPr id="9" name="Прямоугольник 8"/>
                <p:cNvSpPr/>
                <p:nvPr/>
              </p:nvSpPr>
              <p:spPr>
                <a:xfrm>
                  <a:off x="6983836" y="3346752"/>
                  <a:ext cx="1391351" cy="821440"/>
                </a:xfrm>
                <a:prstGeom prst="rect">
                  <a:avLst/>
                </a:prstGeom>
                <a:noFill/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4418" tIns="52209" rIns="104418" bIns="52209" rtlCol="0" anchor="t"/>
                <a:lstStyle/>
                <a:p>
                  <a:pPr algn="ctr" defTabSz="1043734" hangingPunct="1"/>
                  <a:endParaRPr lang="ru-RU" sz="1300" kern="1200" dirty="0">
                    <a:noFill/>
                    <a:latin typeface="Calibri" panose="020F0502020204030204" pitchFamily="34" charset="0"/>
                  </a:endParaRPr>
                </a:p>
              </p:txBody>
            </p:sp>
          </p:grpSp>
        </p:grpSp>
        <p:grpSp>
          <p:nvGrpSpPr>
            <p:cNvPr id="126" name="Группа 125">
              <a:extLst>
                <a:ext uri="{FF2B5EF4-FFF2-40B4-BE49-F238E27FC236}">
                  <a16:creationId xmlns:a16="http://schemas.microsoft.com/office/drawing/2014/main" id="{50A0A146-8409-5747-AD7B-A613F31C8C96}"/>
                </a:ext>
              </a:extLst>
            </p:cNvPr>
            <p:cNvGrpSpPr/>
            <p:nvPr/>
          </p:nvGrpSpPr>
          <p:grpSpPr>
            <a:xfrm rot="21389515">
              <a:off x="7985142" y="3890943"/>
              <a:ext cx="3848881" cy="3715320"/>
              <a:chOff x="1565369" y="2170380"/>
              <a:chExt cx="5070245" cy="4894301"/>
            </a:xfrm>
          </p:grpSpPr>
          <p:sp>
            <p:nvSpPr>
              <p:cNvPr id="127" name="Дуга 126">
                <a:extLst>
                  <a:ext uri="{FF2B5EF4-FFF2-40B4-BE49-F238E27FC236}">
                    <a16:creationId xmlns:a16="http://schemas.microsoft.com/office/drawing/2014/main" id="{3ADA4E9E-1ABB-4446-93E7-FF945BC08763}"/>
                  </a:ext>
                </a:extLst>
              </p:cNvPr>
              <p:cNvSpPr/>
              <p:nvPr/>
            </p:nvSpPr>
            <p:spPr>
              <a:xfrm rot="3248944">
                <a:off x="2741990" y="2919437"/>
                <a:ext cx="3355759" cy="3476394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8" name="Дуга 127">
                <a:extLst>
                  <a:ext uri="{FF2B5EF4-FFF2-40B4-BE49-F238E27FC236}">
                    <a16:creationId xmlns:a16="http://schemas.microsoft.com/office/drawing/2014/main" id="{89ADD3BA-261A-9A4D-8453-D36DB203E4ED}"/>
                  </a:ext>
                </a:extLst>
              </p:cNvPr>
              <p:cNvSpPr/>
              <p:nvPr/>
            </p:nvSpPr>
            <p:spPr>
              <a:xfrm rot="3280190">
                <a:off x="2235891" y="2550473"/>
                <a:ext cx="4073289" cy="4219718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129" name="Дуга 128">
                <a:extLst>
                  <a:ext uri="{FF2B5EF4-FFF2-40B4-BE49-F238E27FC236}">
                    <a16:creationId xmlns:a16="http://schemas.microsoft.com/office/drawing/2014/main" id="{F3986CCC-769C-1A45-97EF-AC02FBBA5124}"/>
                  </a:ext>
                </a:extLst>
              </p:cNvPr>
              <p:cNvSpPr/>
              <p:nvPr/>
            </p:nvSpPr>
            <p:spPr>
              <a:xfrm rot="3339034">
                <a:off x="1653341" y="2082408"/>
                <a:ext cx="4894301" cy="5070245"/>
              </a:xfrm>
              <a:prstGeom prst="arc">
                <a:avLst>
                  <a:gd name="adj1" fmla="val 17090884"/>
                  <a:gd name="adj2" fmla="val 20621167"/>
                </a:avLst>
              </a:prstGeom>
              <a:ln w="19050"/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grpSp>
          <p:nvGrpSpPr>
            <p:cNvPr id="29" name="Группа 28">
              <a:extLst>
                <a:ext uri="{FF2B5EF4-FFF2-40B4-BE49-F238E27FC236}">
                  <a16:creationId xmlns:a16="http://schemas.microsoft.com/office/drawing/2014/main" id="{2D22B78A-FDD9-4645-BD75-5D025E9E700B}"/>
                </a:ext>
              </a:extLst>
            </p:cNvPr>
            <p:cNvGrpSpPr/>
            <p:nvPr/>
          </p:nvGrpSpPr>
          <p:grpSpPr>
            <a:xfrm>
              <a:off x="9129061" y="3918660"/>
              <a:ext cx="2399491" cy="3323357"/>
              <a:chOff x="9136729" y="3011267"/>
              <a:chExt cx="3160921" cy="4377957"/>
            </a:xfrm>
          </p:grpSpPr>
          <p:pic>
            <p:nvPicPr>
              <p:cNvPr id="98" name="Рисунок 97">
                <a:extLst>
                  <a:ext uri="{FF2B5EF4-FFF2-40B4-BE49-F238E27FC236}">
                    <a16:creationId xmlns:a16="http://schemas.microsoft.com/office/drawing/2014/main" id="{C4D590EA-C714-5746-B59F-C74D9FA630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rot="21250640">
                <a:off x="9136729" y="3011267"/>
                <a:ext cx="3160921" cy="4377957"/>
              </a:xfrm>
              <a:prstGeom prst="rect">
                <a:avLst/>
              </a:prstGeom>
            </p:spPr>
          </p:pic>
          <p:grpSp>
            <p:nvGrpSpPr>
              <p:cNvPr id="5" name="Группа 4">
                <a:extLst>
                  <a:ext uri="{FF2B5EF4-FFF2-40B4-BE49-F238E27FC236}">
                    <a16:creationId xmlns:a16="http://schemas.microsoft.com/office/drawing/2014/main" id="{C40E1667-FB94-C14E-8862-93D2EF2B9225}"/>
                  </a:ext>
                </a:extLst>
              </p:cNvPr>
              <p:cNvGrpSpPr/>
              <p:nvPr/>
            </p:nvGrpSpPr>
            <p:grpSpPr>
              <a:xfrm rot="401712">
                <a:off x="9728095" y="3736135"/>
                <a:ext cx="1895397" cy="2843096"/>
                <a:chOff x="9225779" y="3065336"/>
                <a:chExt cx="2706030" cy="4059045"/>
              </a:xfrm>
            </p:grpSpPr>
            <p:pic>
              <p:nvPicPr>
                <p:cNvPr id="8" name="Рисунок 7"/>
                <p:cNvPicPr>
                  <a:picLocks noChangeAspect="1"/>
                </p:cNvPicPr>
                <p:nvPr/>
              </p:nvPicPr>
              <p:blipFill>
                <a:blip r:embed="rId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25779" y="3065336"/>
                  <a:ext cx="2706030" cy="4059045"/>
                </a:xfrm>
                <a:prstGeom prst="rect">
                  <a:avLst/>
                </a:prstGeom>
                <a:ln w="19050">
                  <a:noFill/>
                </a:ln>
              </p:spPr>
            </p:pic>
            <p:sp>
              <p:nvSpPr>
                <p:cNvPr id="93" name="Прямоугольник 92"/>
                <p:cNvSpPr/>
                <p:nvPr/>
              </p:nvSpPr>
              <p:spPr>
                <a:xfrm>
                  <a:off x="9472204" y="3332293"/>
                  <a:ext cx="2241030" cy="821440"/>
                </a:xfrm>
                <a:prstGeom prst="rect">
                  <a:avLst/>
                </a:prstGeom>
                <a:noFill/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4418" tIns="52209" rIns="104418" bIns="52209" rtlCol="0" anchor="t"/>
                <a:lstStyle/>
                <a:p>
                  <a:pPr algn="ctr" defTabSz="1043734" hangingPunct="1"/>
                  <a:endParaRPr lang="ru-RU" sz="1300" kern="1200" dirty="0">
                    <a:noFill/>
                    <a:latin typeface="Calibri" panose="020F0502020204030204" pitchFamily="34" charset="0"/>
                  </a:endParaRPr>
                </a:p>
              </p:txBody>
            </p:sp>
          </p:grpSp>
        </p:grp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12F653DC-4D0B-D842-AC88-7B81E6FCEAA3}"/>
              </a:ext>
            </a:extLst>
          </p:cNvPr>
          <p:cNvGrpSpPr/>
          <p:nvPr/>
        </p:nvGrpSpPr>
        <p:grpSpPr>
          <a:xfrm>
            <a:off x="6490842" y="2751418"/>
            <a:ext cx="915682" cy="915682"/>
            <a:chOff x="6960598" y="2240090"/>
            <a:chExt cx="965204" cy="965204"/>
          </a:xfrm>
          <a:solidFill>
            <a:schemeClr val="accent2"/>
          </a:solidFill>
        </p:grpSpPr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3E7381A5-29E8-7449-A812-EC764A74A72F}"/>
                </a:ext>
              </a:extLst>
            </p:cNvPr>
            <p:cNvSpPr/>
            <p:nvPr/>
          </p:nvSpPr>
          <p:spPr>
            <a:xfrm rot="2178014">
              <a:off x="6960598" y="2647742"/>
              <a:ext cx="965204" cy="17862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7" tIns="52208" rIns="104417" bIns="52208" rtlCol="0" anchor="t"/>
            <a:lstStyle/>
            <a:p>
              <a:pPr algn="ctr" defTabSz="1043734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C7C42453-71FD-0749-B668-886CB6684760}"/>
                </a:ext>
              </a:extLst>
            </p:cNvPr>
            <p:cNvSpPr/>
            <p:nvPr/>
          </p:nvSpPr>
          <p:spPr>
            <a:xfrm rot="8087781">
              <a:off x="6958604" y="2633377"/>
              <a:ext cx="965204" cy="17862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7" tIns="52208" rIns="104417" bIns="52208" rtlCol="0" anchor="t"/>
            <a:lstStyle/>
            <a:p>
              <a:pPr algn="ctr" defTabSz="1043734" hangingPunct="1"/>
              <a:endParaRPr lang="ru-RU" sz="1300" kern="12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CA2DF1B4-9D88-484A-AE03-21F0DC915959}"/>
              </a:ext>
            </a:extLst>
          </p:cNvPr>
          <p:cNvGrpSpPr/>
          <p:nvPr/>
        </p:nvGrpSpPr>
        <p:grpSpPr>
          <a:xfrm rot="21058841">
            <a:off x="505982" y="2991100"/>
            <a:ext cx="754905" cy="420030"/>
            <a:chOff x="692749" y="2385864"/>
            <a:chExt cx="893301" cy="497034"/>
          </a:xfrm>
          <a:solidFill>
            <a:schemeClr val="bg1"/>
          </a:solidFill>
        </p:grpSpPr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D513260C-075B-2F4C-B398-D02C727E0059}"/>
                </a:ext>
              </a:extLst>
            </p:cNvPr>
            <p:cNvSpPr/>
            <p:nvPr/>
          </p:nvSpPr>
          <p:spPr>
            <a:xfrm rot="8425803">
              <a:off x="711944" y="2432863"/>
              <a:ext cx="874106" cy="191318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7" tIns="52208" rIns="104417" bIns="52208" rtlCol="0" anchor="t"/>
            <a:lstStyle/>
            <a:p>
              <a:pPr algn="ctr" defTabSz="1043734" hangingPunct="1"/>
              <a:endParaRPr lang="ru-RU" sz="1300" kern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5" name="Прямоугольник 84">
              <a:extLst>
                <a:ext uri="{FF2B5EF4-FFF2-40B4-BE49-F238E27FC236}">
                  <a16:creationId xmlns:a16="http://schemas.microsoft.com/office/drawing/2014/main" id="{1390B7FB-F724-004A-9C1B-1DFBAFF394DF}"/>
                </a:ext>
              </a:extLst>
            </p:cNvPr>
            <p:cNvSpPr/>
            <p:nvPr/>
          </p:nvSpPr>
          <p:spPr>
            <a:xfrm rot="2910620">
              <a:off x="532025" y="2546588"/>
              <a:ext cx="497034" cy="175586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4417" tIns="52208" rIns="104417" bIns="52208" rtlCol="0" anchor="t"/>
            <a:lstStyle/>
            <a:p>
              <a:pPr algn="ctr" defTabSz="1043734" hangingPunct="1"/>
              <a:endParaRPr lang="ru-RU" sz="1300" kern="12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065D7D5-471D-D04D-96F9-B689E8B6FDD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54" name="Shape">
            <a:extLst>
              <a:ext uri="{FF2B5EF4-FFF2-40B4-BE49-F238E27FC236}">
                <a16:creationId xmlns:a16="http://schemas.microsoft.com/office/drawing/2014/main" id="{93289D80-0217-FF4A-874D-1CEA8A87B611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7366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 advClick="0" advTm="10000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8DD48FF3-3F01-C94B-BEBF-400848E50BC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37775"/>
          <a:stretch/>
        </p:blipFill>
        <p:spPr>
          <a:xfrm>
            <a:off x="1893171" y="2444216"/>
            <a:ext cx="4156024" cy="5137684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55AB7B66-2705-9048-9542-09B8A82E2C0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37775"/>
          <a:stretch/>
        </p:blipFill>
        <p:spPr>
          <a:xfrm>
            <a:off x="6652896" y="2468090"/>
            <a:ext cx="4156024" cy="5137683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284"/>
          <a:stretch/>
        </p:blipFill>
        <p:spPr>
          <a:xfrm>
            <a:off x="2044857" y="3124198"/>
            <a:ext cx="3872608" cy="4457701"/>
          </a:xfrm>
          <a:prstGeom prst="rect">
            <a:avLst/>
          </a:prstGeom>
          <a:ln w="19050">
            <a:solidFill>
              <a:srgbClr val="92D050"/>
            </a:solidFill>
          </a:ln>
        </p:spPr>
      </p:pic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015"/>
          <a:stretch/>
        </p:blipFill>
        <p:spPr>
          <a:xfrm>
            <a:off x="6814644" y="3142303"/>
            <a:ext cx="3861571" cy="4463470"/>
          </a:xfrm>
          <a:prstGeom prst="rect">
            <a:avLst/>
          </a:prstGeom>
          <a:ln w="19050">
            <a:solidFill>
              <a:srgbClr val="92D050"/>
            </a:solidFill>
          </a:ln>
        </p:spPr>
      </p:pic>
      <p:sp>
        <p:nvSpPr>
          <p:cNvPr id="33" name="Прямоугольник 32"/>
          <p:cNvSpPr/>
          <p:nvPr/>
        </p:nvSpPr>
        <p:spPr>
          <a:xfrm>
            <a:off x="2109739" y="3404395"/>
            <a:ext cx="3742226" cy="646331"/>
          </a:xfrm>
          <a:prstGeom prst="rect">
            <a:avLst/>
          </a:prstGeom>
          <a:solidFill>
            <a:srgbClr val="FAF9F9"/>
          </a:solidFill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rgbClr val="EE8137"/>
                </a:solidFill>
              </a:rPr>
              <a:t>+79588037225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865443" y="3402869"/>
            <a:ext cx="3765795" cy="646331"/>
          </a:xfrm>
          <a:prstGeom prst="rect">
            <a:avLst/>
          </a:prstGeom>
          <a:solidFill>
            <a:srgbClr val="FAF9F9"/>
          </a:solidFill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rgbClr val="EE8137"/>
                </a:solidFill>
              </a:rPr>
              <a:t>+79588038764 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AD8ECA7-77E6-3248-9DC3-8F6F37585A7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23" name="Заголовок 22"/>
          <p:cNvSpPr>
            <a:spLocks noGrp="1"/>
          </p:cNvSpPr>
          <p:nvPr>
            <p:ph type="title" idx="4294967295"/>
          </p:nvPr>
        </p:nvSpPr>
        <p:spPr>
          <a:xfrm>
            <a:off x="175413" y="295982"/>
            <a:ext cx="11291657" cy="911225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3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Light"/>
              </a:rPr>
              <a:t>ПРИМЕРЫ МОШЕННИЧЕСКИХ СООБЩЕНИЙ</a:t>
            </a:r>
            <a:endParaRPr lang="ru-RU" sz="3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630DD54-E3D9-EF42-B3E0-C332F25EEC2D}"/>
              </a:ext>
            </a:extLst>
          </p:cNvPr>
          <p:cNvSpPr/>
          <p:nvPr/>
        </p:nvSpPr>
        <p:spPr>
          <a:xfrm>
            <a:off x="2805590" y="1415601"/>
            <a:ext cx="2965622" cy="102539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effectLst/>
        </p:spPr>
        <p:txBody>
          <a:bodyPr wrap="square" lIns="101082" tIns="50540" rIns="101082" bIns="50540">
            <a:spAutoFit/>
          </a:bodyPr>
          <a:lstStyle/>
          <a:p>
            <a:pPr algn="l"/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ение от </a:t>
            </a: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знакомого адресата 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EBA2292D-5E71-FB44-8DF0-C9D8B1F5D3D5}"/>
              </a:ext>
            </a:extLst>
          </p:cNvPr>
          <p:cNvSpPr/>
          <p:nvPr/>
        </p:nvSpPr>
        <p:spPr>
          <a:xfrm>
            <a:off x="2142749" y="3276221"/>
            <a:ext cx="3709216" cy="859243"/>
          </a:xfrm>
          <a:prstGeom prst="roundRect">
            <a:avLst>
              <a:gd name="adj" fmla="val 50000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35ACFA6F-4ACA-A044-B2EE-D54EFFAC2E58}"/>
              </a:ext>
            </a:extLst>
          </p:cNvPr>
          <p:cNvCxnSpPr>
            <a:cxnSpLocks/>
          </p:cNvCxnSpPr>
          <p:nvPr/>
        </p:nvCxnSpPr>
        <p:spPr>
          <a:xfrm>
            <a:off x="2783394" y="1440315"/>
            <a:ext cx="22196" cy="1835906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9A6B00A8-75AB-6348-ACF6-7FCBFE5A81FA}"/>
              </a:ext>
            </a:extLst>
          </p:cNvPr>
          <p:cNvSpPr/>
          <p:nvPr/>
        </p:nvSpPr>
        <p:spPr>
          <a:xfrm>
            <a:off x="2805590" y="5758149"/>
            <a:ext cx="2549107" cy="133317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effectLst/>
        </p:spPr>
        <p:txBody>
          <a:bodyPr wrap="square" lIns="101082" tIns="50540" rIns="101082" bIns="50540">
            <a:spAutoFit/>
          </a:bodyPr>
          <a:lstStyle/>
          <a:p>
            <a:pPr algn="l"/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ует обращение, последние цифры карты </a:t>
            </a:r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2F7D3FAA-DF2B-1540-89DB-258696FBC18E}"/>
              </a:ext>
            </a:extLst>
          </p:cNvPr>
          <p:cNvSpPr/>
          <p:nvPr/>
        </p:nvSpPr>
        <p:spPr>
          <a:xfrm>
            <a:off x="2075355" y="4376782"/>
            <a:ext cx="3276538" cy="1159318"/>
          </a:xfrm>
          <a:prstGeom prst="roundRect">
            <a:avLst>
              <a:gd name="adj" fmla="val 34592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A0D66C54-C34B-194B-998A-A3D25B2F3B18}"/>
              </a:ext>
            </a:extLst>
          </p:cNvPr>
          <p:cNvCxnSpPr/>
          <p:nvPr/>
        </p:nvCxnSpPr>
        <p:spPr>
          <a:xfrm>
            <a:off x="5351893" y="4836013"/>
            <a:ext cx="0" cy="2268000"/>
          </a:xfrm>
          <a:prstGeom prst="line">
            <a:avLst/>
          </a:prstGeom>
          <a:solidFill>
            <a:schemeClr val="accent2">
              <a:lumMod val="60000"/>
              <a:lumOff val="40000"/>
            </a:schemeClr>
          </a:solidFill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6176477-2FC8-AC4E-A39B-9BB097EDF4D5}"/>
              </a:ext>
            </a:extLst>
          </p:cNvPr>
          <p:cNvSpPr/>
          <p:nvPr/>
        </p:nvSpPr>
        <p:spPr>
          <a:xfrm>
            <a:off x="7486087" y="6136269"/>
            <a:ext cx="3068571" cy="102539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effectLst/>
        </p:spPr>
        <p:txBody>
          <a:bodyPr wrap="square" lIns="101082" tIns="50540" rIns="101082" bIns="50540">
            <a:spAutoFit/>
          </a:bodyPr>
          <a:lstStyle/>
          <a:p>
            <a:pPr algn="l"/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ьба </a:t>
            </a:r>
            <a:b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вести деньги </a:t>
            </a:r>
            <a:b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незнакомую карту</a:t>
            </a:r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C43EA0EE-B1D2-F840-A3E7-727DDA9AF2DF}"/>
              </a:ext>
            </a:extLst>
          </p:cNvPr>
          <p:cNvCxnSpPr>
            <a:cxnSpLocks/>
          </p:cNvCxnSpPr>
          <p:nvPr/>
        </p:nvCxnSpPr>
        <p:spPr>
          <a:xfrm>
            <a:off x="10200678" y="4966147"/>
            <a:ext cx="324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кругленный прямоугольник 41">
            <a:extLst>
              <a:ext uri="{FF2B5EF4-FFF2-40B4-BE49-F238E27FC236}">
                <a16:creationId xmlns:a16="http://schemas.microsoft.com/office/drawing/2014/main" id="{1A97DFD6-0322-8F46-9635-88F567BB3FD2}"/>
              </a:ext>
            </a:extLst>
          </p:cNvPr>
          <p:cNvSpPr/>
          <p:nvPr/>
        </p:nvSpPr>
        <p:spPr>
          <a:xfrm>
            <a:off x="6921920" y="4439412"/>
            <a:ext cx="3276538" cy="1081843"/>
          </a:xfrm>
          <a:prstGeom prst="roundRect">
            <a:avLst>
              <a:gd name="adj" fmla="val 34592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EAA3D15A-089B-C74C-A2A7-B47BF2DFC647}"/>
              </a:ext>
            </a:extLst>
          </p:cNvPr>
          <p:cNvCxnSpPr/>
          <p:nvPr/>
        </p:nvCxnSpPr>
        <p:spPr>
          <a:xfrm>
            <a:off x="10524678" y="4966146"/>
            <a:ext cx="0" cy="2268000"/>
          </a:xfrm>
          <a:prstGeom prst="line">
            <a:avLst/>
          </a:prstGeom>
          <a:solidFill>
            <a:schemeClr val="accent2">
              <a:lumMod val="60000"/>
              <a:lumOff val="40000"/>
            </a:schemeClr>
          </a:solidFill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2630DD54-E3D9-EF42-B3E0-C332F25EEC2D}"/>
              </a:ext>
            </a:extLst>
          </p:cNvPr>
          <p:cNvSpPr/>
          <p:nvPr/>
        </p:nvSpPr>
        <p:spPr>
          <a:xfrm>
            <a:off x="7508284" y="1491889"/>
            <a:ext cx="2965622" cy="102539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effectLst/>
        </p:spPr>
        <p:txBody>
          <a:bodyPr wrap="square" lIns="101082" tIns="50540" rIns="101082" bIns="50540">
            <a:spAutoFit/>
          </a:bodyPr>
          <a:lstStyle/>
          <a:p>
            <a:pPr algn="l"/>
            <a:r>
              <a:rPr lang="ru-RU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ение от </a:t>
            </a: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знакомого адресата </a:t>
            </a:r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EBA2292D-5E71-FB44-8DF0-C9D8B1F5D3D5}"/>
              </a:ext>
            </a:extLst>
          </p:cNvPr>
          <p:cNvSpPr/>
          <p:nvPr/>
        </p:nvSpPr>
        <p:spPr>
          <a:xfrm>
            <a:off x="6845443" y="3276221"/>
            <a:ext cx="3709216" cy="935531"/>
          </a:xfrm>
          <a:prstGeom prst="roundRect">
            <a:avLst>
              <a:gd name="adj" fmla="val 50000"/>
            </a:avLst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418" tIns="52209" rIns="104418" bIns="52209" rtlCol="0" anchor="t"/>
          <a:lstStyle/>
          <a:p>
            <a:pPr algn="ctr" defTabSz="1043734" hangingPunct="1"/>
            <a:endParaRPr lang="ru-RU" sz="1300" kern="12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35ACFA6F-4ACA-A044-B2EE-D54EFFAC2E58}"/>
              </a:ext>
            </a:extLst>
          </p:cNvPr>
          <p:cNvCxnSpPr>
            <a:cxnSpLocks/>
          </p:cNvCxnSpPr>
          <p:nvPr/>
        </p:nvCxnSpPr>
        <p:spPr>
          <a:xfrm flipH="1">
            <a:off x="7486088" y="1516603"/>
            <a:ext cx="0" cy="173097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hape">
            <a:extLst>
              <a:ext uri="{FF2B5EF4-FFF2-40B4-BE49-F238E27FC236}">
                <a16:creationId xmlns:a16="http://schemas.microsoft.com/office/drawing/2014/main" id="{06ED3FD5-BF0D-B44B-854B-2B1F13DA37BA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765640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606859C-2162-E64D-A904-379C1BF4A8A0}"/>
              </a:ext>
            </a:extLst>
          </p:cNvPr>
          <p:cNvSpPr/>
          <p:nvPr/>
        </p:nvSpPr>
        <p:spPr>
          <a:xfrm>
            <a:off x="397672" y="424633"/>
            <a:ext cx="2879314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</a:t>
            </a:r>
            <a:r>
              <a:rPr lang="ru-RU" sz="4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4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635E8A4-3146-D94A-8F65-20178C5A3C35}"/>
              </a:ext>
            </a:extLst>
          </p:cNvPr>
          <p:cNvSpPr/>
          <p:nvPr/>
        </p:nvSpPr>
        <p:spPr>
          <a:xfrm>
            <a:off x="7538285" y="2185001"/>
            <a:ext cx="482718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5400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ДЕЛАТЬ, ЕСЛИ ВАС ОБМАНУЛИ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B8664E58-657A-5A4A-81BE-3AE02C9FE09F}"/>
              </a:ext>
            </a:extLst>
          </p:cNvPr>
          <p:cNvCxnSpPr>
            <a:cxnSpLocks/>
          </p:cNvCxnSpPr>
          <p:nvPr/>
        </p:nvCxnSpPr>
        <p:spPr>
          <a:xfrm>
            <a:off x="7129563" y="2442258"/>
            <a:ext cx="0" cy="207213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B26D8C3-724E-2943-AB00-00B9B098611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10" name="Shape">
            <a:extLst>
              <a:ext uri="{FF2B5EF4-FFF2-40B4-BE49-F238E27FC236}">
                <a16:creationId xmlns:a16="http://schemas.microsoft.com/office/drawing/2014/main" id="{7FE4FC55-C549-E548-9D54-5E42BFC7F804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3730568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Заголовок 22"/>
          <p:cNvSpPr>
            <a:spLocks noGrp="1"/>
          </p:cNvSpPr>
          <p:nvPr>
            <p:ph type="title" idx="4294967295"/>
          </p:nvPr>
        </p:nvSpPr>
        <p:spPr>
          <a:xfrm>
            <a:off x="194437" y="76939"/>
            <a:ext cx="10663947" cy="911225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ЙСТВИЯ ПРИ МОШЕННИЧЕСТВЕ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AD8ECA7-77E6-3248-9DC3-8F6F37585A7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26</a:t>
            </a:fld>
            <a:endParaRPr lang="ru-RU" dirty="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6C6CFB43-6BF1-1E45-B90C-0D211339DF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5700" y="2808288"/>
            <a:ext cx="13479463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5D9689C-6073-5743-B10C-F92EEFEEB48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62"/>
          <a:stretch/>
        </p:blipFill>
        <p:spPr>
          <a:xfrm>
            <a:off x="455224" y="2592486"/>
            <a:ext cx="2574407" cy="2614369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367B127-330D-AC4B-A202-B2E5EE3CEDBD}"/>
              </a:ext>
            </a:extLst>
          </p:cNvPr>
          <p:cNvSpPr/>
          <p:nvPr/>
        </p:nvSpPr>
        <p:spPr>
          <a:xfrm>
            <a:off x="318371" y="5769524"/>
            <a:ext cx="3501221" cy="1528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ts val="3240"/>
              </a:lnSpc>
            </a:pPr>
            <a:r>
              <a:rPr lang="ru-RU" sz="36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В мобильном приложении</a:t>
            </a:r>
            <a:r>
              <a:rPr lang="ru-RU" sz="28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 </a:t>
            </a:r>
          </a:p>
          <a:p>
            <a:pPr algn="l"/>
            <a:r>
              <a:rPr lang="ru-RU" sz="2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Нажмите иконку телефона в левом верхнем углу 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BB393E30-32D6-BC40-B63E-660206BC51D4}"/>
              </a:ext>
            </a:extLst>
          </p:cNvPr>
          <p:cNvSpPr/>
          <p:nvPr/>
        </p:nvSpPr>
        <p:spPr>
          <a:xfrm>
            <a:off x="5271824" y="5552713"/>
            <a:ext cx="288761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95300" algn="l"/>
            <a:r>
              <a:rPr lang="ru-RU" sz="48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900</a:t>
            </a:r>
          </a:p>
          <a:p>
            <a:pPr algn="l"/>
            <a:r>
              <a:rPr lang="ru-RU" sz="2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С мобильного телефона, звонки</a:t>
            </a:r>
          </a:p>
          <a:p>
            <a:pPr algn="l"/>
            <a:r>
              <a:rPr lang="ru-RU" sz="2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по России бесплатные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6580D04-0C5E-AF46-88E5-740DCA8F1829}"/>
              </a:ext>
            </a:extLst>
          </p:cNvPr>
          <p:cNvSpPr/>
          <p:nvPr/>
        </p:nvSpPr>
        <p:spPr>
          <a:xfrm>
            <a:off x="8398943" y="5596044"/>
            <a:ext cx="5032138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4400" b="1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+7 495 500-55-50</a:t>
            </a:r>
          </a:p>
          <a:p>
            <a:pPr marL="403225" indent="496888" algn="l"/>
            <a:r>
              <a:rPr lang="ru-RU" sz="2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Для звонков из любой</a:t>
            </a:r>
          </a:p>
          <a:p>
            <a:pPr marL="403225" indent="496888" algn="l"/>
            <a:r>
              <a:rPr lang="ru-RU" sz="2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точки мира,</a:t>
            </a:r>
          </a:p>
          <a:p>
            <a:pPr marL="403225" indent="496888" algn="l"/>
            <a:r>
              <a:rPr lang="ru-RU" sz="20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по тарифам оператора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A9608EEC-ACDA-DE44-822A-15502CECD13E}"/>
              </a:ext>
            </a:extLst>
          </p:cNvPr>
          <p:cNvGrpSpPr/>
          <p:nvPr/>
        </p:nvGrpSpPr>
        <p:grpSpPr>
          <a:xfrm>
            <a:off x="318371" y="944265"/>
            <a:ext cx="12905446" cy="1606567"/>
            <a:chOff x="5341775" y="-2012049"/>
            <a:chExt cx="12905446" cy="1606567"/>
          </a:xfrm>
        </p:grpSpPr>
        <p:sp>
          <p:nvSpPr>
            <p:cNvPr id="14" name="Rectangle 3">
              <a:extLst>
                <a:ext uri="{FF2B5EF4-FFF2-40B4-BE49-F238E27FC236}">
                  <a16:creationId xmlns:a16="http://schemas.microsoft.com/office/drawing/2014/main" id="{048F056B-5E3D-1449-AF58-5907ACCFC16D}"/>
                </a:ext>
              </a:extLst>
            </p:cNvPr>
            <p:cNvSpPr/>
            <p:nvPr/>
          </p:nvSpPr>
          <p:spPr>
            <a:xfrm>
              <a:off x="5341775" y="-2012049"/>
              <a:ext cx="12905445" cy="1561721"/>
            </a:xfrm>
            <a:prstGeom prst="rect">
              <a:avLst/>
            </a:prstGeom>
            <a:solidFill>
              <a:srgbClr val="92D050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75" dirty="0"/>
                <a:t>    </a:t>
              </a:r>
              <a:endParaRPr lang="en-US" sz="2875" dirty="0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E503B26F-7D99-C44F-AEAC-FC7321F80C5A}"/>
                </a:ext>
              </a:extLst>
            </p:cNvPr>
            <p:cNvSpPr/>
            <p:nvPr/>
          </p:nvSpPr>
          <p:spPr>
            <a:xfrm>
              <a:off x="6471205" y="-1975142"/>
              <a:ext cx="11776016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ru-RU" sz="4800" dirty="0">
                  <a:solidFill>
                    <a:schemeClr val="bg1"/>
                  </a:solidFill>
                  <a:latin typeface="Arial"/>
                </a:rPr>
                <a:t>Позвоните в банк по официальным номерам, например, в Сбербанке:</a:t>
              </a:r>
            </a:p>
          </p:txBody>
        </p:sp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12CA0EF5-C442-4D41-B67F-485ED3D564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78628" y="-1820333"/>
              <a:ext cx="1083883" cy="1083883"/>
            </a:xfrm>
            <a:prstGeom prst="rect">
              <a:avLst/>
            </a:prstGeom>
          </p:spPr>
        </p:pic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B4716AAE-DC9B-4B48-9E24-C7E44D8A2E8C}"/>
              </a:ext>
            </a:extLst>
          </p:cNvPr>
          <p:cNvGrpSpPr/>
          <p:nvPr/>
        </p:nvGrpSpPr>
        <p:grpSpPr>
          <a:xfrm>
            <a:off x="9774765" y="3120605"/>
            <a:ext cx="2166709" cy="2084806"/>
            <a:chOff x="6360523" y="4950938"/>
            <a:chExt cx="1228278" cy="1181848"/>
          </a:xfrm>
        </p:grpSpPr>
        <p:pic>
          <p:nvPicPr>
            <p:cNvPr id="21" name="Рисунок 20" descr="Изображение выглядит как воздушный шар, воздушное судно, транспорт&#10;&#10;Автоматически созданное описание">
              <a:extLst>
                <a:ext uri="{FF2B5EF4-FFF2-40B4-BE49-F238E27FC236}">
                  <a16:creationId xmlns:a16="http://schemas.microsoft.com/office/drawing/2014/main" id="{4DA5C4FF-9907-274B-8696-99666104E6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60523" y="4950938"/>
              <a:ext cx="1228278" cy="1181848"/>
            </a:xfrm>
            <a:prstGeom prst="rect">
              <a:avLst/>
            </a:prstGeom>
          </p:spPr>
        </p:pic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E2638137-0B90-BB42-B198-41B1385BA5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60523" y="5029530"/>
              <a:ext cx="558337" cy="605276"/>
            </a:xfrm>
            <a:prstGeom prst="rect">
              <a:avLst/>
            </a:prstGeom>
          </p:spPr>
        </p:pic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7A4BA46-49F5-5D49-974A-C91F7A587DE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4859" y="2892787"/>
            <a:ext cx="2342140" cy="2357625"/>
          </a:xfrm>
          <a:prstGeom prst="rect">
            <a:avLst/>
          </a:prstGeom>
        </p:spPr>
      </p:pic>
      <p:sp>
        <p:nvSpPr>
          <p:cNvPr id="18" name="Shape">
            <a:extLst>
              <a:ext uri="{FF2B5EF4-FFF2-40B4-BE49-F238E27FC236}">
                <a16:creationId xmlns:a16="http://schemas.microsoft.com/office/drawing/2014/main" id="{25FD316A-1B90-B047-AE66-4F524EBAD645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169764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AD8ECA7-77E6-3248-9DC3-8F6F37585A7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6C6CFB43-6BF1-1E45-B90C-0D211339DF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5700" y="2808288"/>
            <a:ext cx="13479463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2749B5A-D16B-A947-A543-437CF315061B}"/>
              </a:ext>
            </a:extLst>
          </p:cNvPr>
          <p:cNvSpPr/>
          <p:nvPr/>
        </p:nvSpPr>
        <p:spPr>
          <a:xfrm>
            <a:off x="2082212" y="5995828"/>
            <a:ext cx="7050475" cy="580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38" algn="l">
              <a:lnSpc>
                <a:spcPct val="107000"/>
              </a:lnSpc>
            </a:pPr>
            <a:r>
              <a:rPr lang="ru-RU" sz="3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Используйте антивирус</a:t>
            </a:r>
            <a:r>
              <a:rPr lang="en-US" sz="3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 </a:t>
            </a:r>
            <a:endParaRPr lang="ru-RU" sz="3200" dirty="0">
              <a:solidFill>
                <a:srgbClr val="000000">
                  <a:lumMod val="75000"/>
                  <a:lumOff val="25000"/>
                </a:srgbClr>
              </a:solidFill>
              <a:latin typeface="Arial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4DAF4AA6-E147-3943-BDB9-013B0D0E41CA}"/>
              </a:ext>
            </a:extLst>
          </p:cNvPr>
          <p:cNvSpPr/>
          <p:nvPr/>
        </p:nvSpPr>
        <p:spPr>
          <a:xfrm>
            <a:off x="2082211" y="1480012"/>
            <a:ext cx="1087884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3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Нельзя сообщать никому: логины, пароли, CVV-коды </a:t>
            </a:r>
            <a:br>
              <a:rPr lang="ru-RU" sz="3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</a:br>
            <a:r>
              <a:rPr lang="ru-RU" sz="3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от банковских карт, подтверждающие пароли из СМС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2BF8313D-F4DD-C24D-B272-D670367E21E8}"/>
              </a:ext>
            </a:extLst>
          </p:cNvPr>
          <p:cNvSpPr/>
          <p:nvPr/>
        </p:nvSpPr>
        <p:spPr>
          <a:xfrm>
            <a:off x="2082212" y="3191057"/>
            <a:ext cx="106879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3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Не совершайте операции по просьбе незнакомцев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72B35BA-CC11-9348-ACAB-62817C734FDF}"/>
              </a:ext>
            </a:extLst>
          </p:cNvPr>
          <p:cNvSpPr/>
          <p:nvPr/>
        </p:nvSpPr>
        <p:spPr>
          <a:xfrm>
            <a:off x="2082212" y="4570445"/>
            <a:ext cx="10878842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38" algn="l">
              <a:lnSpc>
                <a:spcPct val="107000"/>
              </a:lnSpc>
            </a:pPr>
            <a:r>
              <a:rPr lang="ru-RU" sz="3200" dirty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Не переходите по ссылкам с неизвестных номеров</a:t>
            </a:r>
          </a:p>
        </p:txBody>
      </p:sp>
      <p:sp>
        <p:nvSpPr>
          <p:cNvPr id="39" name="Заголовок 22">
            <a:extLst>
              <a:ext uri="{FF2B5EF4-FFF2-40B4-BE49-F238E27FC236}">
                <a16:creationId xmlns:a16="http://schemas.microsoft.com/office/drawing/2014/main" id="{C47A95E3-B51A-6B4D-B224-DF15EFC4F6C2}"/>
              </a:ext>
            </a:extLst>
          </p:cNvPr>
          <p:cNvSpPr txBox="1">
            <a:spLocks/>
          </p:cNvSpPr>
          <p:nvPr/>
        </p:nvSpPr>
        <p:spPr>
          <a:xfrm>
            <a:off x="194437" y="76939"/>
            <a:ext cx="10663947" cy="9112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НОВНЫЕ ПРАВИЛА</a:t>
            </a: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AE058CCD-7ECD-1A42-8CBC-A6EBC615E33E}"/>
              </a:ext>
            </a:extLst>
          </p:cNvPr>
          <p:cNvGrpSpPr/>
          <p:nvPr/>
        </p:nvGrpSpPr>
        <p:grpSpPr>
          <a:xfrm>
            <a:off x="872580" y="1457727"/>
            <a:ext cx="965290" cy="1200329"/>
            <a:chOff x="295275" y="1827242"/>
            <a:chExt cx="965290" cy="1200329"/>
          </a:xfrm>
        </p:grpSpPr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5A6AEDED-3AE4-9A4F-BC9A-5282DDB64DDB}"/>
                </a:ext>
              </a:extLst>
            </p:cNvPr>
            <p:cNvSpPr/>
            <p:nvPr/>
          </p:nvSpPr>
          <p:spPr>
            <a:xfrm>
              <a:off x="295275" y="1911926"/>
              <a:ext cx="965290" cy="965290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5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F7562B4B-9855-9143-AE47-924EE79C541F}"/>
                </a:ext>
              </a:extLst>
            </p:cNvPr>
            <p:cNvSpPr txBox="1"/>
            <p:nvPr/>
          </p:nvSpPr>
          <p:spPr>
            <a:xfrm>
              <a:off x="408518" y="1827242"/>
              <a:ext cx="69972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en-US" sz="72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  <a:endPara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996DF54D-B5A3-6946-9B82-4C1753C836F6}"/>
              </a:ext>
            </a:extLst>
          </p:cNvPr>
          <p:cNvGrpSpPr/>
          <p:nvPr/>
        </p:nvGrpSpPr>
        <p:grpSpPr>
          <a:xfrm>
            <a:off x="872580" y="2871689"/>
            <a:ext cx="965290" cy="1200328"/>
            <a:chOff x="4197351" y="2548011"/>
            <a:chExt cx="315993" cy="392934"/>
          </a:xfrm>
        </p:grpSpPr>
        <p:sp>
          <p:nvSpPr>
            <p:cNvPr id="43" name="Овал 42">
              <a:extLst>
                <a:ext uri="{FF2B5EF4-FFF2-40B4-BE49-F238E27FC236}">
                  <a16:creationId xmlns:a16="http://schemas.microsoft.com/office/drawing/2014/main" id="{D9CA8BAC-E96B-AD47-A38D-46421EF2FC3E}"/>
                </a:ext>
              </a:extLst>
            </p:cNvPr>
            <p:cNvSpPr/>
            <p:nvPr/>
          </p:nvSpPr>
          <p:spPr>
            <a:xfrm>
              <a:off x="4197351" y="2585957"/>
              <a:ext cx="315993" cy="315993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5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4512044-2992-EE40-9403-E27BB75C9F48}"/>
                </a:ext>
              </a:extLst>
            </p:cNvPr>
            <p:cNvSpPr txBox="1"/>
            <p:nvPr/>
          </p:nvSpPr>
          <p:spPr>
            <a:xfrm>
              <a:off x="4237644" y="2548011"/>
              <a:ext cx="235408" cy="3929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en-US" sz="72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endPara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F816B5F8-EF11-0C49-9446-7A3B39FD00D0}"/>
              </a:ext>
            </a:extLst>
          </p:cNvPr>
          <p:cNvGrpSpPr/>
          <p:nvPr/>
        </p:nvGrpSpPr>
        <p:grpSpPr>
          <a:xfrm>
            <a:off x="874393" y="4241930"/>
            <a:ext cx="965290" cy="1200330"/>
            <a:chOff x="4216401" y="2886932"/>
            <a:chExt cx="315993" cy="392935"/>
          </a:xfrm>
        </p:grpSpPr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86477980-8D05-FE4D-8622-09CC17E067E9}"/>
                </a:ext>
              </a:extLst>
            </p:cNvPr>
            <p:cNvSpPr/>
            <p:nvPr/>
          </p:nvSpPr>
          <p:spPr>
            <a:xfrm>
              <a:off x="4216401" y="2928857"/>
              <a:ext cx="315993" cy="315993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5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E218885-8327-9448-8452-6FEBB2E2C8AA}"/>
                </a:ext>
              </a:extLst>
            </p:cNvPr>
            <p:cNvSpPr txBox="1"/>
            <p:nvPr/>
          </p:nvSpPr>
          <p:spPr>
            <a:xfrm>
              <a:off x="4259869" y="2886932"/>
              <a:ext cx="229058" cy="3929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en-US" sz="72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endPara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73D323AB-8F30-C14F-9DC2-32F662907E07}"/>
              </a:ext>
            </a:extLst>
          </p:cNvPr>
          <p:cNvGrpSpPr/>
          <p:nvPr/>
        </p:nvGrpSpPr>
        <p:grpSpPr>
          <a:xfrm>
            <a:off x="872580" y="5645693"/>
            <a:ext cx="965290" cy="1200330"/>
            <a:chOff x="4231641" y="3222495"/>
            <a:chExt cx="315993" cy="392935"/>
          </a:xfrm>
        </p:grpSpPr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CDB2792D-8056-C749-8C92-98A0BF3D022B}"/>
                </a:ext>
              </a:extLst>
            </p:cNvPr>
            <p:cNvSpPr/>
            <p:nvPr/>
          </p:nvSpPr>
          <p:spPr>
            <a:xfrm>
              <a:off x="4231641" y="3264137"/>
              <a:ext cx="315993" cy="315993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15440" tIns="57720" rIns="115440" bIns="57720" rtlCol="0" anchor="t"/>
            <a:lstStyle/>
            <a:p>
              <a:pPr defTabSz="1153952" hangingPunct="1"/>
              <a:endParaRPr lang="ru-RU" sz="5400" kern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4934F7A-72F5-5F4E-8AF9-921C07487B44}"/>
                </a:ext>
              </a:extLst>
            </p:cNvPr>
            <p:cNvSpPr txBox="1"/>
            <p:nvPr/>
          </p:nvSpPr>
          <p:spPr>
            <a:xfrm>
              <a:off x="4268502" y="3222495"/>
              <a:ext cx="229058" cy="3929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1010961" hangingPunct="1"/>
              <a:r>
                <a:rPr lang="en-US" sz="720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endPara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5" name="Shape">
            <a:extLst>
              <a:ext uri="{FF2B5EF4-FFF2-40B4-BE49-F238E27FC236}">
                <a16:creationId xmlns:a16="http://schemas.microsoft.com/office/drawing/2014/main" id="{88B82B22-29A5-FD40-95DD-B1B0E1036E0C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271096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930AB7D-CA8B-C144-88AA-B3CFAB0139A6}"/>
              </a:ext>
            </a:extLst>
          </p:cNvPr>
          <p:cNvSpPr txBox="1"/>
          <p:nvPr/>
        </p:nvSpPr>
        <p:spPr>
          <a:xfrm>
            <a:off x="386447" y="1178257"/>
            <a:ext cx="5561915" cy="5298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3759" kern="1200" dirty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Вам позвонили </a:t>
            </a:r>
            <a:br>
              <a:rPr lang="ru-RU" sz="3759" kern="1200" dirty="0">
                <a:solidFill>
                  <a:prstClr val="white"/>
                </a:solidFill>
                <a:latin typeface="+mn-lt"/>
                <a:ea typeface="+mn-ea"/>
                <a:cs typeface="+mn-cs"/>
              </a:rPr>
            </a:br>
            <a:r>
              <a:rPr lang="ru-RU" sz="3759" kern="1200" dirty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из Службы безопасности банка, говорят, что зафиксировано мошенничество и для защиты средств, срочно скажите ваши данные карты и</a:t>
            </a:r>
            <a:r>
              <a:rPr lang="en-US" sz="3759" kern="1200" dirty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3759" kern="1200" dirty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код из СМС. </a:t>
            </a:r>
            <a:br>
              <a:rPr lang="ru-RU" sz="3759" kern="1200" dirty="0">
                <a:solidFill>
                  <a:prstClr val="white"/>
                </a:solidFill>
                <a:latin typeface="+mn-lt"/>
                <a:ea typeface="+mn-ea"/>
                <a:cs typeface="+mn-cs"/>
              </a:rPr>
            </a:br>
            <a:r>
              <a:rPr lang="ru-RU" sz="3759" kern="1200" dirty="0">
                <a:solidFill>
                  <a:prstClr val="white"/>
                </a:solidFill>
                <a:latin typeface="+mn-lt"/>
                <a:ea typeface="+mn-ea"/>
                <a:cs typeface="+mn-cs"/>
              </a:rPr>
              <a:t>Как поступите?</a:t>
            </a: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C283197F-633A-754D-874B-8B6901F9C094}"/>
              </a:ext>
            </a:extLst>
          </p:cNvPr>
          <p:cNvSpPr/>
          <p:nvPr/>
        </p:nvSpPr>
        <p:spPr>
          <a:xfrm>
            <a:off x="5948362" y="1472498"/>
            <a:ext cx="6863615" cy="1129484"/>
          </a:xfrm>
          <a:prstGeom prst="round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10961" hangingPunct="1"/>
            <a:endParaRPr lang="ru-RU" sz="1990" kern="1200">
              <a:solidFill>
                <a:prstClr val="white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DBAC84-E39D-5142-B42D-2B464110DA04}"/>
              </a:ext>
            </a:extLst>
          </p:cNvPr>
          <p:cNvSpPr txBox="1"/>
          <p:nvPr/>
        </p:nvSpPr>
        <p:spPr>
          <a:xfrm>
            <a:off x="5948363" y="353959"/>
            <a:ext cx="2722328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7297" b="1" kern="1200" dirty="0">
                <a:solidFill>
                  <a:srgbClr val="92D050"/>
                </a:solidFill>
                <a:latin typeface="+mn-lt"/>
                <a:ea typeface="+mn-ea"/>
                <a:cs typeface="+mn-cs"/>
              </a:rPr>
              <a:t>А</a:t>
            </a:r>
          </a:p>
        </p:txBody>
      </p:sp>
      <p:sp>
        <p:nvSpPr>
          <p:cNvPr id="19" name="Прямоугольник 18">
            <a:hlinkClick r:id="" action="ppaction://noaction"/>
            <a:extLst>
              <a:ext uri="{FF2B5EF4-FFF2-40B4-BE49-F238E27FC236}">
                <a16:creationId xmlns:a16="http://schemas.microsoft.com/office/drawing/2014/main" id="{37AF1E73-E158-7949-9C66-B41B30EB5D54}"/>
              </a:ext>
            </a:extLst>
          </p:cNvPr>
          <p:cNvSpPr/>
          <p:nvPr/>
        </p:nvSpPr>
        <p:spPr>
          <a:xfrm>
            <a:off x="6111979" y="1717210"/>
            <a:ext cx="5658158" cy="568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010961" hangingPunct="1"/>
            <a:r>
              <a:rPr lang="en-US" sz="3096" kern="120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3096" kern="120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Диктую, записывайте…</a:t>
            </a: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1ACA345B-250C-FF4F-9EAD-F3FAD095DC92}"/>
              </a:ext>
            </a:extLst>
          </p:cNvPr>
          <p:cNvSpPr/>
          <p:nvPr/>
        </p:nvSpPr>
        <p:spPr>
          <a:xfrm>
            <a:off x="5948362" y="3694221"/>
            <a:ext cx="6863615" cy="1129484"/>
          </a:xfrm>
          <a:prstGeom prst="round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10961" hangingPunct="1"/>
            <a:endParaRPr lang="ru-RU" sz="1990" kern="1200">
              <a:solidFill>
                <a:prstClr val="white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E330E-CA83-B34C-BBDD-B8F4A2EA4503}"/>
              </a:ext>
            </a:extLst>
          </p:cNvPr>
          <p:cNvSpPr txBox="1"/>
          <p:nvPr/>
        </p:nvSpPr>
        <p:spPr>
          <a:xfrm>
            <a:off x="5948363" y="2575681"/>
            <a:ext cx="2722328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en-US" sz="7297" b="1" kern="1200" dirty="0">
                <a:solidFill>
                  <a:srgbClr val="92D050"/>
                </a:solidFill>
                <a:latin typeface="+mn-lt"/>
                <a:ea typeface="+mn-ea"/>
                <a:cs typeface="+mn-cs"/>
              </a:rPr>
              <a:t>B</a:t>
            </a:r>
            <a:endParaRPr lang="ru-RU" sz="7297" b="1" kern="1200" dirty="0">
              <a:solidFill>
                <a:srgbClr val="92D05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E791692C-8A0B-B143-80BF-96773BFBC7EC}"/>
              </a:ext>
            </a:extLst>
          </p:cNvPr>
          <p:cNvSpPr/>
          <p:nvPr/>
        </p:nvSpPr>
        <p:spPr>
          <a:xfrm>
            <a:off x="5948362" y="5875527"/>
            <a:ext cx="6863615" cy="1129484"/>
          </a:xfrm>
          <a:prstGeom prst="round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10961" hangingPunct="1"/>
            <a:endParaRPr lang="ru-RU" sz="1990" kern="1200">
              <a:solidFill>
                <a:prstClr val="white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EE1FDE-1B79-FF46-B29E-1E49CBCA9357}"/>
              </a:ext>
            </a:extLst>
          </p:cNvPr>
          <p:cNvSpPr txBox="1"/>
          <p:nvPr/>
        </p:nvSpPr>
        <p:spPr>
          <a:xfrm>
            <a:off x="5948363" y="4756987"/>
            <a:ext cx="2722328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en-US" sz="7297" b="1" kern="1200" dirty="0">
                <a:solidFill>
                  <a:srgbClr val="92D050"/>
                </a:solidFill>
                <a:latin typeface="+mn-lt"/>
                <a:ea typeface="+mn-ea"/>
                <a:cs typeface="+mn-cs"/>
              </a:rPr>
              <a:t>C</a:t>
            </a:r>
            <a:endParaRPr lang="ru-RU" sz="7297" b="1" kern="1200" dirty="0">
              <a:solidFill>
                <a:srgbClr val="92D05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Прямоугольник 24">
            <a:hlinkClick r:id="" action="ppaction://noaction"/>
            <a:extLst>
              <a:ext uri="{FF2B5EF4-FFF2-40B4-BE49-F238E27FC236}">
                <a16:creationId xmlns:a16="http://schemas.microsoft.com/office/drawing/2014/main" id="{FFD4414A-68E2-6542-BE50-78D55FA45A44}"/>
              </a:ext>
            </a:extLst>
          </p:cNvPr>
          <p:cNvSpPr/>
          <p:nvPr/>
        </p:nvSpPr>
        <p:spPr>
          <a:xfrm>
            <a:off x="6111979" y="3969739"/>
            <a:ext cx="7196856" cy="568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010961" hangingPunct="1"/>
            <a:r>
              <a:rPr lang="ru-RU" sz="3096" kern="120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Не скажу свои данные</a:t>
            </a:r>
          </a:p>
        </p:txBody>
      </p:sp>
      <p:sp>
        <p:nvSpPr>
          <p:cNvPr id="26" name="Прямоугольник 25">
            <a:hlinkClick r:id="" action="ppaction://noaction"/>
            <a:extLst>
              <a:ext uri="{FF2B5EF4-FFF2-40B4-BE49-F238E27FC236}">
                <a16:creationId xmlns:a16="http://schemas.microsoft.com/office/drawing/2014/main" id="{1779B441-4E35-1C4E-804C-6151BD372E7C}"/>
              </a:ext>
            </a:extLst>
          </p:cNvPr>
          <p:cNvSpPr/>
          <p:nvPr/>
        </p:nvSpPr>
        <p:spPr>
          <a:xfrm>
            <a:off x="6111979" y="6190759"/>
            <a:ext cx="6540447" cy="568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010961" hangingPunct="1"/>
            <a:r>
              <a:rPr lang="ru-RU" sz="3096" kern="120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Расскажу об этом соседке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106D2D2-66E3-7548-B886-8B2657F7ED2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CD3FA77A-63D1-40C4-A99F-DCCC8B75DFD0}" type="slidenum">
              <a:rPr lang="ru-RU" smtClean="0"/>
              <a:pPr/>
              <a:t>28</a:t>
            </a:fld>
            <a:endParaRPr lang="ru-RU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C8B9E270-30B7-044C-A69E-C864DB76AC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742"/>
          <a:stretch/>
        </p:blipFill>
        <p:spPr>
          <a:xfrm>
            <a:off x="3889127" y="5789741"/>
            <a:ext cx="1899684" cy="121527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5F9AFE1-05B1-D64B-80BE-B4477F6D5AF1}"/>
              </a:ext>
            </a:extLst>
          </p:cNvPr>
          <p:cNvSpPr txBox="1"/>
          <p:nvPr/>
        </p:nvSpPr>
        <p:spPr>
          <a:xfrm>
            <a:off x="1807077" y="205062"/>
            <a:ext cx="11410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</a:t>
            </a:r>
          </a:p>
        </p:txBody>
      </p:sp>
      <p:sp>
        <p:nvSpPr>
          <p:cNvPr id="27" name="Shape">
            <a:extLst>
              <a:ext uri="{FF2B5EF4-FFF2-40B4-BE49-F238E27FC236}">
                <a16:creationId xmlns:a16="http://schemas.microsoft.com/office/drawing/2014/main" id="{9942F475-4EDC-6F40-AEED-B7C928E0010B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264874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930AB7D-CA8B-C144-88AA-B3CFAB0139A6}"/>
              </a:ext>
            </a:extLst>
          </p:cNvPr>
          <p:cNvSpPr txBox="1"/>
          <p:nvPr/>
        </p:nvSpPr>
        <p:spPr>
          <a:xfrm>
            <a:off x="382206" y="1890299"/>
            <a:ext cx="5119225" cy="4141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м у метро предлагают взять </a:t>
            </a:r>
            <a:r>
              <a:rPr lang="en-US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</a:t>
            </a:r>
            <a: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карту </a:t>
            </a:r>
            <a:b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выгодным тарифом </a:t>
            </a:r>
            <a:b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</a:t>
            </a:r>
            <a:r>
              <a:rPr lang="en-US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азу установить </a:t>
            </a:r>
            <a:b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нее услугу «мобильный банк»?</a:t>
            </a: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C283197F-633A-754D-874B-8B6901F9C094}"/>
              </a:ext>
            </a:extLst>
          </p:cNvPr>
          <p:cNvSpPr/>
          <p:nvPr/>
        </p:nvSpPr>
        <p:spPr>
          <a:xfrm>
            <a:off x="5948363" y="1561459"/>
            <a:ext cx="6863615" cy="1129484"/>
          </a:xfrm>
          <a:prstGeom prst="round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10961" hangingPunct="1"/>
            <a:endParaRPr lang="ru-RU" sz="1990" kern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DBAC84-E39D-5142-B42D-2B464110DA04}"/>
              </a:ext>
            </a:extLst>
          </p:cNvPr>
          <p:cNvSpPr txBox="1"/>
          <p:nvPr/>
        </p:nvSpPr>
        <p:spPr>
          <a:xfrm>
            <a:off x="5948364" y="442920"/>
            <a:ext cx="2722328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7297" b="1" kern="1200" dirty="0">
                <a:solidFill>
                  <a:srgbClr val="92D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</a:t>
            </a:r>
          </a:p>
        </p:txBody>
      </p:sp>
      <p:sp>
        <p:nvSpPr>
          <p:cNvPr id="19" name="Прямоугольник 18">
            <a:hlinkClick r:id="" action="ppaction://noaction"/>
            <a:extLst>
              <a:ext uri="{FF2B5EF4-FFF2-40B4-BE49-F238E27FC236}">
                <a16:creationId xmlns:a16="http://schemas.microsoft.com/office/drawing/2014/main" id="{37AF1E73-E158-7949-9C66-B41B30EB5D54}"/>
              </a:ext>
            </a:extLst>
          </p:cNvPr>
          <p:cNvSpPr/>
          <p:nvPr/>
        </p:nvSpPr>
        <p:spPr>
          <a:xfrm>
            <a:off x="6706888" y="1854697"/>
            <a:ext cx="5658158" cy="568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010961" hangingPunct="1"/>
            <a:r>
              <a:rPr lang="ru-RU" sz="3096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зьму только </a:t>
            </a:r>
            <a:r>
              <a:rPr lang="en-US" sz="3096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M-</a:t>
            </a:r>
            <a:r>
              <a:rPr lang="ru-RU" sz="3096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рту</a:t>
            </a: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1ACA345B-250C-FF4F-9EAD-F3FAD095DC92}"/>
              </a:ext>
            </a:extLst>
          </p:cNvPr>
          <p:cNvSpPr/>
          <p:nvPr/>
        </p:nvSpPr>
        <p:spPr>
          <a:xfrm>
            <a:off x="5948363" y="3783182"/>
            <a:ext cx="6863615" cy="1129484"/>
          </a:xfrm>
          <a:prstGeom prst="round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10961" hangingPunct="1"/>
            <a:endParaRPr lang="ru-RU" sz="1990" kern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E330E-CA83-B34C-BBDD-B8F4A2EA4503}"/>
              </a:ext>
            </a:extLst>
          </p:cNvPr>
          <p:cNvSpPr txBox="1"/>
          <p:nvPr/>
        </p:nvSpPr>
        <p:spPr>
          <a:xfrm>
            <a:off x="5948364" y="2664642"/>
            <a:ext cx="2722328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en-US" sz="7297" b="1" kern="1200" dirty="0">
                <a:solidFill>
                  <a:srgbClr val="92D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</a:t>
            </a:r>
            <a:endParaRPr lang="ru-RU" sz="7297" b="1" kern="1200" dirty="0">
              <a:solidFill>
                <a:srgbClr val="92D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E791692C-8A0B-B143-80BF-96773BFBC7EC}"/>
              </a:ext>
            </a:extLst>
          </p:cNvPr>
          <p:cNvSpPr/>
          <p:nvPr/>
        </p:nvSpPr>
        <p:spPr>
          <a:xfrm>
            <a:off x="5948363" y="5964488"/>
            <a:ext cx="6863615" cy="1129484"/>
          </a:xfrm>
          <a:prstGeom prst="round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10961" hangingPunct="1"/>
            <a:endParaRPr lang="ru-RU" sz="1990" kern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EE1FDE-1B79-FF46-B29E-1E49CBCA9357}"/>
              </a:ext>
            </a:extLst>
          </p:cNvPr>
          <p:cNvSpPr txBox="1"/>
          <p:nvPr/>
        </p:nvSpPr>
        <p:spPr>
          <a:xfrm>
            <a:off x="5948364" y="4845948"/>
            <a:ext cx="2722328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en-US" sz="7297" b="1" kern="1200" dirty="0">
                <a:solidFill>
                  <a:srgbClr val="92D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  <a:endParaRPr lang="ru-RU" sz="7297" b="1" kern="1200" dirty="0">
              <a:solidFill>
                <a:srgbClr val="92D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Прямоугольник 24">
            <a:hlinkClick r:id="" action="ppaction://noaction"/>
            <a:extLst>
              <a:ext uri="{FF2B5EF4-FFF2-40B4-BE49-F238E27FC236}">
                <a16:creationId xmlns:a16="http://schemas.microsoft.com/office/drawing/2014/main" id="{FFD4414A-68E2-6542-BE50-78D55FA45A44}"/>
              </a:ext>
            </a:extLst>
          </p:cNvPr>
          <p:cNvSpPr/>
          <p:nvPr/>
        </p:nvSpPr>
        <p:spPr>
          <a:xfrm>
            <a:off x="6706888" y="4111905"/>
            <a:ext cx="5658158" cy="568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010961" hangingPunct="1"/>
            <a:r>
              <a:rPr lang="ru-RU" sz="3096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ключу </a:t>
            </a:r>
          </a:p>
        </p:txBody>
      </p:sp>
      <p:sp>
        <p:nvSpPr>
          <p:cNvPr id="26" name="Прямоугольник 25">
            <a:hlinkClick r:id="" action="ppaction://noaction"/>
            <a:extLst>
              <a:ext uri="{FF2B5EF4-FFF2-40B4-BE49-F238E27FC236}">
                <a16:creationId xmlns:a16="http://schemas.microsoft.com/office/drawing/2014/main" id="{1779B441-4E35-1C4E-804C-6151BD372E7C}"/>
              </a:ext>
            </a:extLst>
          </p:cNvPr>
          <p:cNvSpPr/>
          <p:nvPr/>
        </p:nvSpPr>
        <p:spPr>
          <a:xfrm>
            <a:off x="6706888" y="6258943"/>
            <a:ext cx="6540447" cy="568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1010961" hangingPunct="1"/>
            <a:r>
              <a:rPr lang="ru-RU" sz="3096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кажусь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CF52559-6A82-F743-B52E-3E36A9F9915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CD3FA77A-63D1-40C4-A99F-DCCC8B75DFD0}" type="slidenum">
              <a:rPr lang="ru-RU" smtClean="0"/>
              <a:pPr/>
              <a:t>29</a:t>
            </a:fld>
            <a:endParaRPr lang="ru-RU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59B13F4-37A3-A74D-B2BD-942DB72C25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742"/>
          <a:stretch/>
        </p:blipFill>
        <p:spPr>
          <a:xfrm>
            <a:off x="3889127" y="5881181"/>
            <a:ext cx="1899684" cy="121527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F49FF28-78A4-D44D-A7DD-6498E3293855}"/>
              </a:ext>
            </a:extLst>
          </p:cNvPr>
          <p:cNvSpPr txBox="1"/>
          <p:nvPr/>
        </p:nvSpPr>
        <p:spPr>
          <a:xfrm>
            <a:off x="1807078" y="697507"/>
            <a:ext cx="11410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</a:t>
            </a:r>
          </a:p>
        </p:txBody>
      </p:sp>
      <p:sp>
        <p:nvSpPr>
          <p:cNvPr id="15" name="Shape">
            <a:extLst>
              <a:ext uri="{FF2B5EF4-FFF2-40B4-BE49-F238E27FC236}">
                <a16:creationId xmlns:a16="http://schemas.microsoft.com/office/drawing/2014/main" id="{E387B17A-EE0E-8B4C-8AD4-C314425EF027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915219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CC9B80A4-5F84-F546-AD56-6C06EC1786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1317" y="1759940"/>
            <a:ext cx="4902200" cy="32004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64252" y="140833"/>
            <a:ext cx="65279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АЯ КАРТА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4F3044D-654D-054C-A876-BD81E1EEE16D}"/>
              </a:ext>
            </a:extLst>
          </p:cNvPr>
          <p:cNvSpPr txBox="1">
            <a:spLocks/>
          </p:cNvSpPr>
          <p:nvPr/>
        </p:nvSpPr>
        <p:spPr>
          <a:xfrm>
            <a:off x="214528" y="975604"/>
            <a:ext cx="11821962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algn="l" defTabSz="1010961" hangingPunct="1">
              <a:lnSpc>
                <a:spcPts val="3900"/>
              </a:lnSpc>
            </a:pPr>
            <a:r>
              <a:rPr lang="ru-RU" sz="36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то важно знать: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205EAA2B-BAC8-294C-99DB-2D97621EE4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3" t="48800" r="44107" b="14514"/>
          <a:stretch/>
        </p:blipFill>
        <p:spPr bwMode="auto">
          <a:xfrm>
            <a:off x="2719272" y="2884478"/>
            <a:ext cx="5187691" cy="3210354"/>
          </a:xfrm>
          <a:prstGeom prst="roundRect">
            <a:avLst>
              <a:gd name="adj" fmla="val 8236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 стрелкой 5">
            <a:extLst>
              <a:ext uri="{FF2B5EF4-FFF2-40B4-BE49-F238E27FC236}">
                <a16:creationId xmlns:a16="http://schemas.microsoft.com/office/drawing/2014/main" id="{03FE08BA-1232-4144-B30F-2A0A74E863F3}"/>
              </a:ext>
            </a:extLst>
          </p:cNvPr>
          <p:cNvCxnSpPr>
            <a:cxnSpLocks/>
          </p:cNvCxnSpPr>
          <p:nvPr/>
        </p:nvCxnSpPr>
        <p:spPr>
          <a:xfrm>
            <a:off x="2385115" y="5977188"/>
            <a:ext cx="3037481" cy="0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CDEF09C8-E3B6-0C4F-8DF3-F3AE0E6ABD8C}"/>
              </a:ext>
            </a:extLst>
          </p:cNvPr>
          <p:cNvCxnSpPr>
            <a:cxnSpLocks/>
          </p:cNvCxnSpPr>
          <p:nvPr/>
        </p:nvCxnSpPr>
        <p:spPr>
          <a:xfrm>
            <a:off x="2181915" y="4692528"/>
            <a:ext cx="0" cy="604964"/>
          </a:xfrm>
          <a:prstGeom prst="line">
            <a:avLst/>
          </a:prstGeom>
          <a:ln w="44450">
            <a:solidFill>
              <a:schemeClr val="accent2"/>
            </a:solidFill>
            <a:prstDash val="sysDot"/>
            <a:head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Номер слайда 21">
            <a:extLst>
              <a:ext uri="{FF2B5EF4-FFF2-40B4-BE49-F238E27FC236}">
                <a16:creationId xmlns:a16="http://schemas.microsoft.com/office/drawing/2014/main" id="{C445D482-C21B-854D-9A58-8A163C2C147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8DE4B154-1A7F-894E-93B7-63B1F031B128}"/>
              </a:ext>
            </a:extLst>
          </p:cNvPr>
          <p:cNvSpPr/>
          <p:nvPr/>
        </p:nvSpPr>
        <p:spPr>
          <a:xfrm>
            <a:off x="704710" y="2937751"/>
            <a:ext cx="1512472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мер карты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AE51131-824D-5D4F-B6B8-205692A67DCE}"/>
              </a:ext>
            </a:extLst>
          </p:cNvPr>
          <p:cNvSpPr/>
          <p:nvPr/>
        </p:nvSpPr>
        <p:spPr>
          <a:xfrm flipH="1">
            <a:off x="709350" y="3988837"/>
            <a:ext cx="2357350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ок действия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B91DF706-1D25-B947-9BF2-8E982D5A9920}"/>
              </a:ext>
            </a:extLst>
          </p:cNvPr>
          <p:cNvSpPr/>
          <p:nvPr/>
        </p:nvSpPr>
        <p:spPr>
          <a:xfrm>
            <a:off x="709350" y="5063853"/>
            <a:ext cx="2237556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мя держателя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533D149-5D86-604D-ADD9-23D3015C38AD}"/>
              </a:ext>
            </a:extLst>
          </p:cNvPr>
          <p:cNvSpPr/>
          <p:nvPr/>
        </p:nvSpPr>
        <p:spPr>
          <a:xfrm>
            <a:off x="8911410" y="1186477"/>
            <a:ext cx="3910225" cy="34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гнитная полоса 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F30335B-5F11-6445-BA23-02B1B09D6CD9}"/>
              </a:ext>
            </a:extLst>
          </p:cNvPr>
          <p:cNvSpPr/>
          <p:nvPr/>
        </p:nvSpPr>
        <p:spPr>
          <a:xfrm>
            <a:off x="9765669" y="5111643"/>
            <a:ext cx="3239455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b="1" kern="1200" dirty="0">
                <a:solidFill>
                  <a:srgbClr val="EE813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д безопасности (</a:t>
            </a:r>
            <a:r>
              <a:rPr lang="en-US" sz="2800" b="1" kern="1200" dirty="0">
                <a:solidFill>
                  <a:srgbClr val="EE813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VC)</a:t>
            </a:r>
            <a:endParaRPr lang="ru-RU" sz="2800" b="1" kern="1200" dirty="0">
              <a:solidFill>
                <a:srgbClr val="EE8137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A8EB14B4-53EB-C749-A025-D22C2A02C562}"/>
              </a:ext>
            </a:extLst>
          </p:cNvPr>
          <p:cNvSpPr/>
          <p:nvPr/>
        </p:nvSpPr>
        <p:spPr>
          <a:xfrm>
            <a:off x="3560831" y="6576725"/>
            <a:ext cx="9260804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b="1" kern="1200" dirty="0">
                <a:solidFill>
                  <a:srgbClr val="EE813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ИН-код </a:t>
            </a: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lang="ru-RU" sz="2800" spc="-15" dirty="0">
                <a:solidFill>
                  <a:srgbClr val="585858"/>
                </a:solidFill>
                <a:latin typeface="Arial"/>
                <a:cs typeface="Arial"/>
              </a:rPr>
              <a:t>пароль для работы с банкоматом, </a:t>
            </a:r>
            <a:br>
              <a:rPr lang="ru-RU" sz="2800" spc="-15" dirty="0">
                <a:solidFill>
                  <a:srgbClr val="585858"/>
                </a:solidFill>
                <a:latin typeface="Arial"/>
                <a:cs typeface="Arial"/>
              </a:rPr>
            </a:br>
            <a:r>
              <a:rPr lang="ru-RU" sz="2800" spc="-15" dirty="0">
                <a:solidFill>
                  <a:srgbClr val="585858"/>
                </a:solidFill>
                <a:latin typeface="Arial"/>
                <a:cs typeface="Arial"/>
              </a:rPr>
              <a:t>выдается банком в запечатанном конверте</a:t>
            </a:r>
            <a:endParaRPr lang="ru-RU" sz="2800" kern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5E570129-264B-D049-A5F2-62D72AECE69C}"/>
              </a:ext>
            </a:extLst>
          </p:cNvPr>
          <p:cNvCxnSpPr>
            <a:cxnSpLocks/>
          </p:cNvCxnSpPr>
          <p:nvPr/>
        </p:nvCxnSpPr>
        <p:spPr>
          <a:xfrm>
            <a:off x="2181915" y="5297492"/>
            <a:ext cx="2366188" cy="0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AE3F3D85-5FAC-484C-BDD0-1F9D36C6B9F3}"/>
              </a:ext>
            </a:extLst>
          </p:cNvPr>
          <p:cNvCxnSpPr>
            <a:cxnSpLocks/>
          </p:cNvCxnSpPr>
          <p:nvPr/>
        </p:nvCxnSpPr>
        <p:spPr>
          <a:xfrm>
            <a:off x="2354635" y="5758618"/>
            <a:ext cx="0" cy="218570"/>
          </a:xfrm>
          <a:prstGeom prst="line">
            <a:avLst/>
          </a:prstGeom>
          <a:ln w="44450">
            <a:solidFill>
              <a:schemeClr val="accent2"/>
            </a:solidFill>
            <a:prstDash val="sysDot"/>
            <a:head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F07617AF-0364-4747-8BCF-604A04793488}"/>
              </a:ext>
            </a:extLst>
          </p:cNvPr>
          <p:cNvCxnSpPr>
            <a:cxnSpLocks/>
          </p:cNvCxnSpPr>
          <p:nvPr/>
        </p:nvCxnSpPr>
        <p:spPr>
          <a:xfrm>
            <a:off x="2517195" y="3283999"/>
            <a:ext cx="0" cy="1494768"/>
          </a:xfrm>
          <a:prstGeom prst="line">
            <a:avLst/>
          </a:prstGeom>
          <a:ln w="44450">
            <a:solidFill>
              <a:schemeClr val="accent2"/>
            </a:solidFill>
            <a:prstDash val="sysDot"/>
            <a:head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0C24B917-2180-854E-8791-DDDADC13505B}"/>
              </a:ext>
            </a:extLst>
          </p:cNvPr>
          <p:cNvCxnSpPr>
            <a:cxnSpLocks/>
          </p:cNvCxnSpPr>
          <p:nvPr/>
        </p:nvCxnSpPr>
        <p:spPr>
          <a:xfrm>
            <a:off x="2517195" y="4799087"/>
            <a:ext cx="667925" cy="0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CB1E5A3F-F23E-1740-B583-DE267228AF2B}"/>
              </a:ext>
            </a:extLst>
          </p:cNvPr>
          <p:cNvCxnSpPr>
            <a:cxnSpLocks/>
          </p:cNvCxnSpPr>
          <p:nvPr/>
        </p:nvCxnSpPr>
        <p:spPr>
          <a:xfrm flipH="1">
            <a:off x="1828128" y="3299687"/>
            <a:ext cx="689067" cy="0"/>
          </a:xfrm>
          <a:prstGeom prst="line">
            <a:avLst/>
          </a:prstGeom>
          <a:ln w="44450">
            <a:solidFill>
              <a:schemeClr val="accent2"/>
            </a:solidFill>
            <a:prstDash val="sysDot"/>
            <a:head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C683F493-6BC0-A84B-BA27-4C84998E120D}"/>
              </a:ext>
            </a:extLst>
          </p:cNvPr>
          <p:cNvCxnSpPr>
            <a:cxnSpLocks/>
          </p:cNvCxnSpPr>
          <p:nvPr/>
        </p:nvCxnSpPr>
        <p:spPr>
          <a:xfrm>
            <a:off x="9623773" y="1617242"/>
            <a:ext cx="0" cy="870884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0FD05ADE-761F-B04E-A6C4-BFF8E6D6C844}"/>
              </a:ext>
            </a:extLst>
          </p:cNvPr>
          <p:cNvSpPr/>
          <p:nvPr/>
        </p:nvSpPr>
        <p:spPr>
          <a:xfrm>
            <a:off x="9211084" y="3044687"/>
            <a:ext cx="554585" cy="3180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000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39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0A78C56-2702-0242-9068-96D6E4A0354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550" t="1" b="39979"/>
          <a:stretch/>
        </p:blipFill>
        <p:spPr>
          <a:xfrm>
            <a:off x="7385804" y="3376325"/>
            <a:ext cx="553431" cy="445529"/>
          </a:xfrm>
          <a:prstGeom prst="rect">
            <a:avLst/>
          </a:prstGeom>
        </p:spPr>
      </p:pic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C683F493-6BC0-A84B-BA27-4C84998E120D}"/>
              </a:ext>
            </a:extLst>
          </p:cNvPr>
          <p:cNvCxnSpPr>
            <a:cxnSpLocks/>
          </p:cNvCxnSpPr>
          <p:nvPr/>
        </p:nvCxnSpPr>
        <p:spPr>
          <a:xfrm>
            <a:off x="3365009" y="2623829"/>
            <a:ext cx="0" cy="1006419"/>
          </a:xfrm>
          <a:prstGeom prst="straightConnector1">
            <a:avLst/>
          </a:prstGeom>
          <a:ln w="44450">
            <a:solidFill>
              <a:schemeClr val="accent2"/>
            </a:solidFill>
            <a:prstDash val="sysDot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1533D149-5D86-604D-ADD9-23D3015C38AD}"/>
              </a:ext>
            </a:extLst>
          </p:cNvPr>
          <p:cNvSpPr/>
          <p:nvPr/>
        </p:nvSpPr>
        <p:spPr>
          <a:xfrm>
            <a:off x="3066700" y="2171955"/>
            <a:ext cx="3910225" cy="34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 defTabSz="1010938" hangingPunct="1">
              <a:lnSpc>
                <a:spcPts val="2660"/>
              </a:lnSpc>
            </a:pP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ип</a:t>
            </a:r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1D92DAE6-22A7-B04A-BA17-2AA3E59B42AA}"/>
              </a:ext>
            </a:extLst>
          </p:cNvPr>
          <p:cNvGrpSpPr>
            <a:grpSpLocks noChangeAspect="1"/>
          </p:cNvGrpSpPr>
          <p:nvPr/>
        </p:nvGrpSpPr>
        <p:grpSpPr>
          <a:xfrm>
            <a:off x="8507622" y="4946534"/>
            <a:ext cx="768635" cy="923330"/>
            <a:chOff x="10140554" y="2348770"/>
            <a:chExt cx="2041451" cy="2452311"/>
          </a:xfrm>
        </p:grpSpPr>
        <p:sp>
          <p:nvSpPr>
            <p:cNvPr id="43" name="Овал 42">
              <a:extLst>
                <a:ext uri="{FF2B5EF4-FFF2-40B4-BE49-F238E27FC236}">
                  <a16:creationId xmlns:a16="http://schemas.microsoft.com/office/drawing/2014/main" id="{57FCDA0E-DA27-B74F-A2E7-2E73CCD39509}"/>
                </a:ext>
              </a:extLst>
            </p:cNvPr>
            <p:cNvSpPr/>
            <p:nvPr/>
          </p:nvSpPr>
          <p:spPr>
            <a:xfrm>
              <a:off x="10140554" y="2585071"/>
              <a:ext cx="2041451" cy="2041451"/>
            </a:xfrm>
            <a:prstGeom prst="ellipse">
              <a:avLst/>
            </a:prstGeom>
            <a:noFill/>
            <a:ln w="76200">
              <a:solidFill>
                <a:srgbClr val="EE81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98B78A4-B0E2-0040-82CC-A3FCBBF6C4F4}"/>
                </a:ext>
              </a:extLst>
            </p:cNvPr>
            <p:cNvSpPr txBox="1"/>
            <p:nvPr/>
          </p:nvSpPr>
          <p:spPr>
            <a:xfrm>
              <a:off x="10832313" y="2348770"/>
              <a:ext cx="680482" cy="24523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5400" b="1" dirty="0">
                  <a:solidFill>
                    <a:srgbClr val="EE8137"/>
                  </a:solidFill>
                  <a:latin typeface="Aharoni" panose="020F0502020204030204" pitchFamily="34" charset="0"/>
                  <a:cs typeface="Aharoni" panose="020F0502020204030204" pitchFamily="34" charset="0"/>
                </a:rPr>
                <a:t>!</a:t>
              </a: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1D92DAE6-22A7-B04A-BA17-2AA3E59B42AA}"/>
              </a:ext>
            </a:extLst>
          </p:cNvPr>
          <p:cNvGrpSpPr>
            <a:grpSpLocks noChangeAspect="1"/>
          </p:cNvGrpSpPr>
          <p:nvPr/>
        </p:nvGrpSpPr>
        <p:grpSpPr>
          <a:xfrm>
            <a:off x="2466839" y="6423681"/>
            <a:ext cx="768635" cy="923330"/>
            <a:chOff x="10140554" y="2348770"/>
            <a:chExt cx="2041451" cy="2452311"/>
          </a:xfrm>
        </p:grpSpPr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57FCDA0E-DA27-B74F-A2E7-2E73CCD39509}"/>
                </a:ext>
              </a:extLst>
            </p:cNvPr>
            <p:cNvSpPr/>
            <p:nvPr/>
          </p:nvSpPr>
          <p:spPr>
            <a:xfrm>
              <a:off x="10140554" y="2585071"/>
              <a:ext cx="2041451" cy="2041451"/>
            </a:xfrm>
            <a:prstGeom prst="ellipse">
              <a:avLst/>
            </a:prstGeom>
            <a:noFill/>
            <a:ln w="76200">
              <a:solidFill>
                <a:srgbClr val="EE81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98B78A4-B0E2-0040-82CC-A3FCBBF6C4F4}"/>
                </a:ext>
              </a:extLst>
            </p:cNvPr>
            <p:cNvSpPr txBox="1"/>
            <p:nvPr/>
          </p:nvSpPr>
          <p:spPr>
            <a:xfrm>
              <a:off x="10832313" y="2348770"/>
              <a:ext cx="680482" cy="24523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5400" b="1" dirty="0">
                  <a:solidFill>
                    <a:srgbClr val="EE8137"/>
                  </a:solidFill>
                  <a:latin typeface="Aharoni" panose="020F0502020204030204" pitchFamily="34" charset="0"/>
                  <a:cs typeface="Aharoni" panose="020F0502020204030204" pitchFamily="34" charset="0"/>
                </a:rPr>
                <a:t>!</a:t>
              </a:r>
            </a:p>
          </p:txBody>
        </p:sp>
      </p:grpSp>
      <p:sp>
        <p:nvSpPr>
          <p:cNvPr id="32" name="Shape">
            <a:extLst>
              <a:ext uri="{FF2B5EF4-FFF2-40B4-BE49-F238E27FC236}">
                <a16:creationId xmlns:a16="http://schemas.microsoft.com/office/drawing/2014/main" id="{3662231E-B137-0144-B883-696BDD900100}"/>
              </a:ext>
            </a:extLst>
          </p:cNvPr>
          <p:cNvSpPr/>
          <p:nvPr/>
        </p:nvSpPr>
        <p:spPr>
          <a:xfrm>
            <a:off x="12176125" y="24182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77773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930AB7D-CA8B-C144-88AA-B3CFAB0139A6}"/>
              </a:ext>
            </a:extLst>
          </p:cNvPr>
          <p:cNvSpPr txBox="1"/>
          <p:nvPr/>
        </p:nvSpPr>
        <p:spPr>
          <a:xfrm>
            <a:off x="587778" y="2010584"/>
            <a:ext cx="5119225" cy="2523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к понять, </a:t>
            </a:r>
            <a:b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то звонит </a:t>
            </a:r>
            <a:b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трудник банка, </a:t>
            </a:r>
            <a:b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759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 не мошенник?</a:t>
            </a: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C283197F-633A-754D-874B-8B6901F9C094}"/>
              </a:ext>
            </a:extLst>
          </p:cNvPr>
          <p:cNvSpPr/>
          <p:nvPr/>
        </p:nvSpPr>
        <p:spPr>
          <a:xfrm>
            <a:off x="5948363" y="1561459"/>
            <a:ext cx="6863615" cy="1129484"/>
          </a:xfrm>
          <a:prstGeom prst="round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10961" hangingPunct="1"/>
            <a:endParaRPr lang="ru-RU" sz="1990" kern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ADBAC84-E39D-5142-B42D-2B464110DA04}"/>
              </a:ext>
            </a:extLst>
          </p:cNvPr>
          <p:cNvSpPr txBox="1"/>
          <p:nvPr/>
        </p:nvSpPr>
        <p:spPr>
          <a:xfrm>
            <a:off x="5948364" y="442920"/>
            <a:ext cx="2722328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7297" b="1" kern="1200" dirty="0">
                <a:solidFill>
                  <a:srgbClr val="92D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</a:t>
            </a:r>
          </a:p>
        </p:txBody>
      </p:sp>
      <p:sp>
        <p:nvSpPr>
          <p:cNvPr id="19" name="Прямоугольник 18">
            <a:hlinkClick r:id="" action="ppaction://noaction"/>
            <a:extLst>
              <a:ext uri="{FF2B5EF4-FFF2-40B4-BE49-F238E27FC236}">
                <a16:creationId xmlns:a16="http://schemas.microsoft.com/office/drawing/2014/main" id="{37AF1E73-E158-7949-9C66-B41B30EB5D54}"/>
              </a:ext>
            </a:extLst>
          </p:cNvPr>
          <p:cNvSpPr/>
          <p:nvPr/>
        </p:nvSpPr>
        <p:spPr>
          <a:xfrm>
            <a:off x="6431083" y="1579068"/>
            <a:ext cx="5658158" cy="1045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/>
            <a:r>
              <a:rPr lang="ru-RU" sz="3096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 сотрудника вежливый и хорошо поставленный голос</a:t>
            </a: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1ACA345B-250C-FF4F-9EAD-F3FAD095DC92}"/>
              </a:ext>
            </a:extLst>
          </p:cNvPr>
          <p:cNvSpPr/>
          <p:nvPr/>
        </p:nvSpPr>
        <p:spPr>
          <a:xfrm>
            <a:off x="5948363" y="3783182"/>
            <a:ext cx="6863615" cy="1129484"/>
          </a:xfrm>
          <a:prstGeom prst="round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10961" hangingPunct="1"/>
            <a:endParaRPr lang="ru-RU" sz="1990" kern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AE330E-CA83-B34C-BBDD-B8F4A2EA4503}"/>
              </a:ext>
            </a:extLst>
          </p:cNvPr>
          <p:cNvSpPr txBox="1"/>
          <p:nvPr/>
        </p:nvSpPr>
        <p:spPr>
          <a:xfrm>
            <a:off x="5948364" y="2664642"/>
            <a:ext cx="2722328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en-US" sz="7297" b="1" kern="1200" dirty="0">
                <a:solidFill>
                  <a:srgbClr val="92D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</a:t>
            </a:r>
            <a:endParaRPr lang="ru-RU" sz="7297" b="1" kern="1200" dirty="0">
              <a:solidFill>
                <a:srgbClr val="92D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E791692C-8A0B-B143-80BF-96773BFBC7EC}"/>
              </a:ext>
            </a:extLst>
          </p:cNvPr>
          <p:cNvSpPr/>
          <p:nvPr/>
        </p:nvSpPr>
        <p:spPr>
          <a:xfrm>
            <a:off x="5948363" y="5964488"/>
            <a:ext cx="6863615" cy="1129484"/>
          </a:xfrm>
          <a:prstGeom prst="round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10961" hangingPunct="1"/>
            <a:endParaRPr lang="ru-RU" sz="1990" kern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EE1FDE-1B79-FF46-B29E-1E49CBCA9357}"/>
              </a:ext>
            </a:extLst>
          </p:cNvPr>
          <p:cNvSpPr txBox="1"/>
          <p:nvPr/>
        </p:nvSpPr>
        <p:spPr>
          <a:xfrm>
            <a:off x="5948364" y="4845948"/>
            <a:ext cx="2722328" cy="1215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en-US" sz="7297" b="1" kern="1200" dirty="0">
                <a:solidFill>
                  <a:srgbClr val="92D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  <a:endParaRPr lang="ru-RU" sz="7297" b="1" kern="1200" dirty="0">
              <a:solidFill>
                <a:srgbClr val="92D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Прямоугольник 24">
            <a:hlinkClick r:id="" action="ppaction://noaction"/>
            <a:extLst>
              <a:ext uri="{FF2B5EF4-FFF2-40B4-BE49-F238E27FC236}">
                <a16:creationId xmlns:a16="http://schemas.microsoft.com/office/drawing/2014/main" id="{FFD4414A-68E2-6542-BE50-78D55FA45A44}"/>
              </a:ext>
            </a:extLst>
          </p:cNvPr>
          <p:cNvSpPr/>
          <p:nvPr/>
        </p:nvSpPr>
        <p:spPr>
          <a:xfrm>
            <a:off x="6431083" y="4063551"/>
            <a:ext cx="5658158" cy="568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/>
            <a:r>
              <a:rPr lang="ru-RU" sz="3096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лышен шум </a:t>
            </a:r>
            <a:r>
              <a:rPr lang="ru-RU" sz="3096" kern="1200" dirty="0" err="1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лл</a:t>
            </a:r>
            <a:r>
              <a:rPr lang="ru-RU" sz="3096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центра </a:t>
            </a:r>
          </a:p>
        </p:txBody>
      </p:sp>
      <p:sp>
        <p:nvSpPr>
          <p:cNvPr id="26" name="Прямоугольник 25">
            <a:hlinkClick r:id="" action="ppaction://noaction"/>
            <a:extLst>
              <a:ext uri="{FF2B5EF4-FFF2-40B4-BE49-F238E27FC236}">
                <a16:creationId xmlns:a16="http://schemas.microsoft.com/office/drawing/2014/main" id="{1779B441-4E35-1C4E-804C-6151BD372E7C}"/>
              </a:ext>
            </a:extLst>
          </p:cNvPr>
          <p:cNvSpPr/>
          <p:nvPr/>
        </p:nvSpPr>
        <p:spPr>
          <a:xfrm>
            <a:off x="6431083" y="6032896"/>
            <a:ext cx="6540447" cy="1045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/>
            <a:r>
              <a:rPr lang="ru-RU" sz="3096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нк не запрашивает коды и пароли из СМС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CF52559-6A82-F743-B52E-3E36A9F9915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CD3FA77A-63D1-40C4-A99F-DCCC8B75DFD0}" type="slidenum">
              <a:rPr lang="ru-RU" smtClean="0"/>
              <a:pPr/>
              <a:t>30</a:t>
            </a:fld>
            <a:endParaRPr lang="ru-RU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59B13F4-37A3-A74D-B2BD-942DB72C257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742"/>
          <a:stretch/>
        </p:blipFill>
        <p:spPr>
          <a:xfrm>
            <a:off x="3889127" y="5789741"/>
            <a:ext cx="1899684" cy="121527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6473AE8-992F-E14A-B237-D652443848A1}"/>
              </a:ext>
            </a:extLst>
          </p:cNvPr>
          <p:cNvSpPr txBox="1"/>
          <p:nvPr/>
        </p:nvSpPr>
        <p:spPr>
          <a:xfrm>
            <a:off x="1807078" y="697507"/>
            <a:ext cx="11410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720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</a:t>
            </a:r>
          </a:p>
        </p:txBody>
      </p:sp>
      <p:sp>
        <p:nvSpPr>
          <p:cNvPr id="15" name="Shape">
            <a:extLst>
              <a:ext uri="{FF2B5EF4-FFF2-40B4-BE49-F238E27FC236}">
                <a16:creationId xmlns:a16="http://schemas.microsoft.com/office/drawing/2014/main" id="{C8C04F3C-A1C5-9F41-9DA0-A1B49804DD04}"/>
              </a:ext>
            </a:extLst>
          </p:cNvPr>
          <p:cNvSpPr/>
          <p:nvPr/>
        </p:nvSpPr>
        <p:spPr>
          <a:xfrm>
            <a:off x="12176125" y="15038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85126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D7FFA1F-F1E5-A448-87A3-9DEE222BC10A}"/>
              </a:ext>
            </a:extLst>
          </p:cNvPr>
          <p:cNvSpPr/>
          <p:nvPr/>
        </p:nvSpPr>
        <p:spPr>
          <a:xfrm>
            <a:off x="2045566" y="-687681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4859C85-2FCE-9946-9851-C678CED61005}"/>
              </a:ext>
            </a:extLst>
          </p:cNvPr>
          <p:cNvSpPr/>
          <p:nvPr/>
        </p:nvSpPr>
        <p:spPr>
          <a:xfrm>
            <a:off x="5012071" y="3631283"/>
            <a:ext cx="6631757" cy="32213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оставляйте </a:t>
            </a:r>
            <a:b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е без присмотра и не передавайте никому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E644664-0EB3-D341-940D-125FB189FA1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10" name="Заголовок 4">
            <a:extLst>
              <a:ext uri="{FF2B5EF4-FFF2-40B4-BE49-F238E27FC236}">
                <a16:creationId xmlns:a16="http://schemas.microsoft.com/office/drawing/2014/main" id="{8DCD9B56-7B16-654B-B142-1C0EC47E05E7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CE7F17F-B1CA-FB48-BB5D-DFD8F035A18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837" t="-11587" r="-11321" b="27447"/>
          <a:stretch/>
        </p:blipFill>
        <p:spPr>
          <a:xfrm rot="21027788">
            <a:off x="8120441" y="1233356"/>
            <a:ext cx="5975954" cy="4208165"/>
          </a:xfrm>
          <a:prstGeom prst="ellipse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012071" y="338246"/>
            <a:ext cx="8720183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80000"/>
              </a:lnSpc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 - доступ ко всем электронным деньгам </a:t>
            </a:r>
          </a:p>
        </p:txBody>
      </p:sp>
      <p:sp>
        <p:nvSpPr>
          <p:cNvPr id="9" name="Shape">
            <a:extLst>
              <a:ext uri="{FF2B5EF4-FFF2-40B4-BE49-F238E27FC236}">
                <a16:creationId xmlns:a16="http://schemas.microsoft.com/office/drawing/2014/main" id="{5F0512AD-E679-CF4F-93D9-E46648F62A5E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3009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D7FFA1F-F1E5-A448-87A3-9DEE222BC10A}"/>
              </a:ext>
            </a:extLst>
          </p:cNvPr>
          <p:cNvSpPr/>
          <p:nvPr/>
        </p:nvSpPr>
        <p:spPr>
          <a:xfrm>
            <a:off x="2075399" y="-693709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E4D2C32-7732-CF43-984A-37E6571B6B0A}"/>
              </a:ext>
            </a:extLst>
          </p:cNvPr>
          <p:cNvSpPr/>
          <p:nvPr/>
        </p:nvSpPr>
        <p:spPr>
          <a:xfrm>
            <a:off x="5333293" y="917597"/>
            <a:ext cx="5948601" cy="874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ts val="6080"/>
              </a:lnSpc>
              <a:defRPr/>
            </a:pPr>
            <a:r>
              <a:rPr lang="en-US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ru-RU" sz="5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9980774-7396-C44B-A235-EFE1B7965F8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10" name="Заголовок 4">
            <a:extLst>
              <a:ext uri="{FF2B5EF4-FFF2-40B4-BE49-F238E27FC236}">
                <a16:creationId xmlns:a16="http://schemas.microsoft.com/office/drawing/2014/main" id="{8DCD9B56-7B16-654B-B142-1C0EC47E05E7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 descr="Изображение выглядит как небо&#10;&#10;Автоматически созданное описание">
            <a:extLst>
              <a:ext uri="{FF2B5EF4-FFF2-40B4-BE49-F238E27FC236}">
                <a16:creationId xmlns:a16="http://schemas.microsoft.com/office/drawing/2014/main" id="{D78CA12E-7B0A-DD4A-9826-56580725A1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3221" y="5142816"/>
            <a:ext cx="2672059" cy="205612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E09F484-EB06-A24A-A42A-7B9696FA4FB1}"/>
              </a:ext>
            </a:extLst>
          </p:cNvPr>
          <p:cNvSpPr txBox="1"/>
          <p:nvPr/>
        </p:nvSpPr>
        <p:spPr>
          <a:xfrm rot="20890492">
            <a:off x="9258983" y="5787367"/>
            <a:ext cx="23625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chemeClr val="accent1">
                    <a:lumMod val="75000"/>
                  </a:schemeClr>
                </a:solidFill>
                <a:latin typeface="Mistral" panose="03090702030407020403" pitchFamily="66" charset="0"/>
                <a:cs typeface="Al Bayan Plain" pitchFamily="2" charset="-78"/>
              </a:rPr>
              <a:t>*</a:t>
            </a:r>
            <a:r>
              <a:rPr lang="ru-RU" sz="4800" dirty="0">
                <a:solidFill>
                  <a:schemeClr val="accent1">
                    <a:lumMod val="75000"/>
                  </a:schemeClr>
                </a:solidFill>
                <a:latin typeface="Mistral" panose="03090702030407020403" pitchFamily="66" charset="0"/>
                <a:cs typeface="Al Bayan Plain" pitchFamily="2" charset="-78"/>
              </a:rPr>
              <a:t>2039</a:t>
            </a:r>
            <a:r>
              <a:rPr lang="en-US" sz="4800" dirty="0">
                <a:solidFill>
                  <a:schemeClr val="accent1">
                    <a:lumMod val="75000"/>
                  </a:schemeClr>
                </a:solidFill>
                <a:latin typeface="Mistral" panose="03090702030407020403" pitchFamily="66" charset="0"/>
                <a:cs typeface="Al Bayan Plain" pitchFamily="2" charset="-78"/>
              </a:rPr>
              <a:t>*</a:t>
            </a:r>
            <a:endParaRPr lang="ru-RU" sz="4800" dirty="0">
              <a:solidFill>
                <a:schemeClr val="accent1">
                  <a:lumMod val="75000"/>
                </a:schemeClr>
              </a:solidFill>
              <a:latin typeface="Mistral" panose="03090702030407020403" pitchFamily="66" charset="0"/>
              <a:cs typeface="Al Bayan Plain" pitchFamily="2" charset="-78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45C3CEBD-82F4-7D42-89F8-CCE79BF86F0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2" r="26957" b="17536"/>
          <a:stretch/>
        </p:blipFill>
        <p:spPr>
          <a:xfrm rot="20770799">
            <a:off x="10208947" y="2856827"/>
            <a:ext cx="2890505" cy="2732693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5D8E7AA-B010-714A-AFBD-739EFEC59AA3}"/>
              </a:ext>
            </a:extLst>
          </p:cNvPr>
          <p:cNvSpPr/>
          <p:nvPr/>
        </p:nvSpPr>
        <p:spPr>
          <a:xfrm>
            <a:off x="4968765" y="253858"/>
            <a:ext cx="6788558" cy="5568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ите </a:t>
            </a:r>
            <a:b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Н-код </a:t>
            </a:r>
            <a:b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банкомате </a:t>
            </a:r>
            <a:b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известный только вам и запомните его</a:t>
            </a:r>
          </a:p>
          <a:p>
            <a:pPr algn="l">
              <a:lnSpc>
                <a:spcPts val="6080"/>
              </a:lnSpc>
              <a:defRPr/>
            </a:pPr>
            <a:endParaRPr lang="ru-RU" sz="5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533C18D3-A10A-BD4E-AB1B-6DD81E21B99E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140028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 descr="Изображение выглядит как небо&#10;&#10;Автоматически созданное описание">
            <a:extLst>
              <a:ext uri="{FF2B5EF4-FFF2-40B4-BE49-F238E27FC236}">
                <a16:creationId xmlns:a16="http://schemas.microsoft.com/office/drawing/2014/main" id="{E4B69615-3F14-394F-B5A7-3EFF4B1713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8636" y="5436114"/>
            <a:ext cx="2672059" cy="205612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0CB3442-E8CF-B148-966F-ECB249C477D1}"/>
              </a:ext>
            </a:extLst>
          </p:cNvPr>
          <p:cNvSpPr txBox="1"/>
          <p:nvPr/>
        </p:nvSpPr>
        <p:spPr>
          <a:xfrm rot="20890492">
            <a:off x="8094398" y="5711334"/>
            <a:ext cx="236257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dirty="0" err="1">
                <a:solidFill>
                  <a:schemeClr val="accent1">
                    <a:lumMod val="75000"/>
                  </a:schemeClr>
                </a:solidFill>
                <a:latin typeface="Mistral" panose="03090702030407020403" pitchFamily="66" charset="0"/>
                <a:cs typeface="Al Bayan Plain" pitchFamily="2" charset="-78"/>
              </a:rPr>
              <a:t>Пин</a:t>
            </a:r>
            <a:r>
              <a:rPr lang="ru-RU" sz="4800" dirty="0">
                <a:solidFill>
                  <a:schemeClr val="accent1">
                    <a:lumMod val="75000"/>
                  </a:schemeClr>
                </a:solidFill>
                <a:latin typeface="Mistral" panose="03090702030407020403" pitchFamily="66" charset="0"/>
                <a:cs typeface="Al Bayan Plain" pitchFamily="2" charset="-78"/>
              </a:rPr>
              <a:t>-код</a:t>
            </a:r>
          </a:p>
          <a:p>
            <a:r>
              <a:rPr lang="ru-RU" sz="4800" dirty="0">
                <a:solidFill>
                  <a:schemeClr val="accent1">
                    <a:lumMod val="75000"/>
                  </a:schemeClr>
                </a:solidFill>
                <a:latin typeface="Mistral" panose="03090702030407020403" pitchFamily="66" charset="0"/>
                <a:cs typeface="Al Bayan Plain" pitchFamily="2" charset="-78"/>
              </a:rPr>
              <a:t>1968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D7FFA1F-F1E5-A448-87A3-9DEE222BC10A}"/>
              </a:ext>
            </a:extLst>
          </p:cNvPr>
          <p:cNvSpPr/>
          <p:nvPr/>
        </p:nvSpPr>
        <p:spPr>
          <a:xfrm>
            <a:off x="2165212" y="-704147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85A637E-835E-C145-8DB3-E09FB27058F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B5C615E-1FE1-B247-8617-34646D56EA2B}"/>
              </a:ext>
            </a:extLst>
          </p:cNvPr>
          <p:cNvSpPr/>
          <p:nvPr/>
        </p:nvSpPr>
        <p:spPr>
          <a:xfrm>
            <a:off x="4968765" y="330058"/>
            <a:ext cx="6788558" cy="5568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кому не говорите</a:t>
            </a:r>
            <a:r>
              <a:rPr lang="en-US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Н-код и код безопасности</a:t>
            </a:r>
          </a:p>
          <a:p>
            <a:pPr algn="l">
              <a:lnSpc>
                <a:spcPts val="6080"/>
              </a:lnSpc>
              <a:defRPr/>
            </a:pP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храните </a:t>
            </a:r>
            <a:b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Н-код рядом </a:t>
            </a:r>
            <a:b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картой</a:t>
            </a:r>
          </a:p>
        </p:txBody>
      </p:sp>
      <p:sp>
        <p:nvSpPr>
          <p:cNvPr id="15" name="Заголовок 4">
            <a:extLst>
              <a:ext uri="{FF2B5EF4-FFF2-40B4-BE49-F238E27FC236}">
                <a16:creationId xmlns:a16="http://schemas.microsoft.com/office/drawing/2014/main" id="{8DCD9B56-7B16-654B-B142-1C0EC47E05E7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CD004CD-7F72-044D-B34B-69A2D828FDE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2" r="26957" b="17536"/>
          <a:stretch/>
        </p:blipFill>
        <p:spPr>
          <a:xfrm rot="20770799">
            <a:off x="10208947" y="2933027"/>
            <a:ext cx="2890505" cy="2732693"/>
          </a:xfrm>
          <a:prstGeom prst="rect">
            <a:avLst/>
          </a:prstGeom>
        </p:spPr>
      </p:pic>
      <p:sp>
        <p:nvSpPr>
          <p:cNvPr id="9" name="Shape">
            <a:extLst>
              <a:ext uri="{FF2B5EF4-FFF2-40B4-BE49-F238E27FC236}">
                <a16:creationId xmlns:a16="http://schemas.microsoft.com/office/drawing/2014/main" id="{81A3C5A1-A284-A047-BC62-9093673D158F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196359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D7FFA1F-F1E5-A448-87A3-9DEE222BC10A}"/>
              </a:ext>
            </a:extLst>
          </p:cNvPr>
          <p:cNvSpPr/>
          <p:nvPr/>
        </p:nvSpPr>
        <p:spPr>
          <a:xfrm>
            <a:off x="2201105" y="-682134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365B2A1-D6C8-C14B-8232-3A0CE9360F0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5F14ABA-A3D4-3642-97F6-56D52B9A5623}"/>
              </a:ext>
            </a:extLst>
          </p:cNvPr>
          <p:cNvSpPr/>
          <p:nvPr/>
        </p:nvSpPr>
        <p:spPr>
          <a:xfrm>
            <a:off x="4953781" y="253977"/>
            <a:ext cx="8525681" cy="24391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мотрите банкомат перед снятием денег, нажмите кнопку «отмена»</a:t>
            </a:r>
          </a:p>
        </p:txBody>
      </p:sp>
      <p:pic>
        <p:nvPicPr>
          <p:cNvPr id="9" name="Рисунок 2" descr="image00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002" t="12073" r="52438" b="19888"/>
          <a:stretch/>
        </p:blipFill>
        <p:spPr bwMode="auto">
          <a:xfrm>
            <a:off x="5184692" y="2915856"/>
            <a:ext cx="1808467" cy="389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</p:pic>
      <p:sp>
        <p:nvSpPr>
          <p:cNvPr id="11" name="Заголовок 4">
            <a:extLst>
              <a:ext uri="{FF2B5EF4-FFF2-40B4-BE49-F238E27FC236}">
                <a16:creationId xmlns:a16="http://schemas.microsoft.com/office/drawing/2014/main" id="{8DCD9B56-7B16-654B-B142-1C0EC47E05E7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2.png">
            <a:extLst>
              <a:ext uri="{FF2B5EF4-FFF2-40B4-BE49-F238E27FC236}">
                <a16:creationId xmlns:a16="http://schemas.microsoft.com/office/drawing/2014/main" id="{F68890A2-23B4-48E4-B673-D1146688DB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  <a14:imgEffect>
                      <a14:brightnessContrast bright="7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466954" y="2937682"/>
            <a:ext cx="4188212" cy="3892887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">
            <a:extLst>
              <a:ext uri="{FF2B5EF4-FFF2-40B4-BE49-F238E27FC236}">
                <a16:creationId xmlns:a16="http://schemas.microsoft.com/office/drawing/2014/main" id="{3119A9A6-400F-F346-91D4-24C06C3ED957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53258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83813" y="141338"/>
            <a:ext cx="65279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010961" hangingPunct="1"/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ТАКОЕ </a:t>
            </a:r>
            <a:b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4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ЫЙ БАНК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69674" y="1804695"/>
            <a:ext cx="851975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algn="l" defTabSz="1010961" hangingPunct="1"/>
            <a:r>
              <a:rPr lang="ru-RU" sz="3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а позволяет: </a:t>
            </a:r>
          </a:p>
          <a:p>
            <a:pPr algn="l" defTabSz="1010961" hangingPunct="1"/>
            <a:r>
              <a:rPr lang="ru-RU" sz="3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оряжаться своими деньгами и оперативно отслеживать по СМС поступление и списание денег с карты</a:t>
            </a:r>
          </a:p>
          <a:p>
            <a:pPr algn="l" defTabSz="1010961" hangingPunct="1"/>
            <a:endParaRPr lang="ru-RU" sz="3600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010961" hangingPunct="1"/>
            <a:r>
              <a:rPr lang="ru-RU" sz="3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использования мобильного банкинга нужно иметь только ТЕЛЕФОН!</a:t>
            </a:r>
          </a:p>
        </p:txBody>
      </p:sp>
      <p:sp>
        <p:nvSpPr>
          <p:cNvPr id="83" name="Номер слайда 82">
            <a:extLst>
              <a:ext uri="{FF2B5EF4-FFF2-40B4-BE49-F238E27FC236}">
                <a16:creationId xmlns:a16="http://schemas.microsoft.com/office/drawing/2014/main" id="{6CA8E3FF-99C7-244A-909E-64BCB36C3EB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8</a:t>
            </a:fld>
            <a:endParaRPr 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8BB4D02-0E06-0248-A4D0-BEA5E92ED495}"/>
              </a:ext>
            </a:extLst>
          </p:cNvPr>
          <p:cNvGrpSpPr/>
          <p:nvPr/>
        </p:nvGrpSpPr>
        <p:grpSpPr>
          <a:xfrm>
            <a:off x="8721926" y="499730"/>
            <a:ext cx="3578042" cy="6996223"/>
            <a:chOff x="356004" y="1368906"/>
            <a:chExt cx="3056202" cy="6071655"/>
          </a:xfrm>
        </p:grpSpPr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8EC3CFF3-25EB-D949-BFFD-B4E7DE0FD95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6004" y="1368906"/>
              <a:ext cx="3056202" cy="6071655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1311" y="1873397"/>
              <a:ext cx="2831980" cy="4929739"/>
            </a:xfrm>
            <a:prstGeom prst="rect">
              <a:avLst/>
            </a:prstGeom>
            <a:ln>
              <a:solidFill>
                <a:srgbClr val="92D050"/>
              </a:solidFill>
            </a:ln>
          </p:spPr>
        </p:pic>
      </p:grpSp>
      <p:sp>
        <p:nvSpPr>
          <p:cNvPr id="10" name="Прямоугольник 9"/>
          <p:cNvSpPr/>
          <p:nvPr/>
        </p:nvSpPr>
        <p:spPr>
          <a:xfrm>
            <a:off x="9993711" y="1214372"/>
            <a:ext cx="1034472" cy="639247"/>
          </a:xfrm>
          <a:prstGeom prst="rect">
            <a:avLst/>
          </a:prstGeom>
          <a:noFill/>
          <a:ln w="571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7D5EBE1-969F-144D-93D9-50E7C42F2C29}"/>
              </a:ext>
            </a:extLst>
          </p:cNvPr>
          <p:cNvSpPr/>
          <p:nvPr/>
        </p:nvSpPr>
        <p:spPr>
          <a:xfrm>
            <a:off x="269674" y="6418735"/>
            <a:ext cx="807171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3200" dirty="0">
                <a:solidFill>
                  <a:srgbClr val="92D050"/>
                </a:solidFill>
                <a:latin typeface="Arial"/>
              </a:rPr>
              <a:t>Сбербанк отправляет СМС </a:t>
            </a:r>
            <a:r>
              <a:rPr lang="en-US" sz="3200" dirty="0">
                <a:solidFill>
                  <a:srgbClr val="92D050"/>
                </a:solidFill>
                <a:latin typeface="Arial"/>
              </a:rPr>
              <a:t/>
            </a:r>
            <a:br>
              <a:rPr lang="en-US" sz="3200" dirty="0">
                <a:solidFill>
                  <a:srgbClr val="92D050"/>
                </a:solidFill>
                <a:latin typeface="Arial"/>
              </a:rPr>
            </a:br>
            <a:r>
              <a:rPr lang="ru-RU" sz="3200" dirty="0">
                <a:solidFill>
                  <a:srgbClr val="92D050"/>
                </a:solidFill>
                <a:latin typeface="Arial"/>
              </a:rPr>
              <a:t>только с номеров 900 и 9000</a:t>
            </a: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BFE54D14-9B75-1B4F-8190-5B65CA9DC558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723554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D78C9C-0992-3448-BE69-4CBF657D3B61}"/>
              </a:ext>
            </a:extLst>
          </p:cNvPr>
          <p:cNvSpPr/>
          <p:nvPr/>
        </p:nvSpPr>
        <p:spPr>
          <a:xfrm>
            <a:off x="1993357" y="-658985"/>
            <a:ext cx="2752677" cy="56323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0" b="1" dirty="0">
                <a:solidFill>
                  <a:schemeClr val="bg1">
                    <a:alpha val="3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36000" b="1" dirty="0">
              <a:solidFill>
                <a:schemeClr val="bg1">
                  <a:alpha val="30000"/>
                </a:schemeClr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4E51A83-CC44-514C-B6DF-CB139BB1C6FB}"/>
              </a:ext>
            </a:extLst>
          </p:cNvPr>
          <p:cNvSpPr/>
          <p:nvPr/>
        </p:nvSpPr>
        <p:spPr>
          <a:xfrm>
            <a:off x="4905875" y="658813"/>
            <a:ext cx="7810112" cy="1656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ts val="6080"/>
              </a:lnSpc>
              <a:defRPr/>
            </a:pP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сообщайте никому  </a:t>
            </a:r>
            <a:b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5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ы из СМС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3225E85-CF5E-6C4A-9153-CFD8F634F73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6" name="Заголовок 4">
            <a:extLst>
              <a:ext uri="{FF2B5EF4-FFF2-40B4-BE49-F238E27FC236}">
                <a16:creationId xmlns:a16="http://schemas.microsoft.com/office/drawing/2014/main" id="{8DCD9B56-7B16-654B-B142-1C0EC47E05E7}"/>
              </a:ext>
            </a:extLst>
          </p:cNvPr>
          <p:cNvSpPr txBox="1">
            <a:spLocks/>
          </p:cNvSpPr>
          <p:nvPr/>
        </p:nvSpPr>
        <p:spPr>
          <a:xfrm>
            <a:off x="201087" y="4207137"/>
            <a:ext cx="4509810" cy="203041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00"/>
              </a:lnSpc>
            </a:pPr>
            <a:r>
              <a:rPr lang="ru-RU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АЦИИ ПО БЕЗОПАСНОСТИ</a:t>
            </a:r>
          </a:p>
          <a:p>
            <a:pPr>
              <a:lnSpc>
                <a:spcPts val="3600"/>
              </a:lnSpc>
            </a:pPr>
            <a:endParaRPr lang="ru-RU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C992D9C-1C80-F844-AAE1-ECB303B440C0}"/>
              </a:ext>
            </a:extLst>
          </p:cNvPr>
          <p:cNvGrpSpPr/>
          <p:nvPr/>
        </p:nvGrpSpPr>
        <p:grpSpPr>
          <a:xfrm>
            <a:off x="6503167" y="2700670"/>
            <a:ext cx="4684269" cy="4881230"/>
            <a:chOff x="6177771" y="2339163"/>
            <a:chExt cx="4684269" cy="4881230"/>
          </a:xfrm>
        </p:grpSpPr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825F4364-474A-114C-A66C-6699029500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43663"/>
            <a:stretch/>
          </p:blipFill>
          <p:spPr>
            <a:xfrm>
              <a:off x="6177771" y="2339163"/>
              <a:ext cx="4684269" cy="4881230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7629"/>
            <a:stretch/>
          </p:blipFill>
          <p:spPr>
            <a:xfrm>
              <a:off x="6347638" y="3062177"/>
              <a:ext cx="4369985" cy="4158215"/>
            </a:xfrm>
            <a:prstGeom prst="rect">
              <a:avLst/>
            </a:prstGeom>
            <a:ln w="12700">
              <a:solidFill>
                <a:srgbClr val="92D050"/>
              </a:solidFill>
            </a:ln>
          </p:spPr>
        </p:pic>
        <p:sp>
          <p:nvSpPr>
            <p:cNvPr id="5" name="Прямоугольник 4"/>
            <p:cNvSpPr/>
            <p:nvPr/>
          </p:nvSpPr>
          <p:spPr>
            <a:xfrm>
              <a:off x="6427662" y="5625225"/>
              <a:ext cx="3322595" cy="586596"/>
            </a:xfrm>
            <a:prstGeom prst="rect">
              <a:avLst/>
            </a:prstGeom>
            <a:noFill/>
            <a:ln w="57150">
              <a:solidFill>
                <a:srgbClr val="EE81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" name="Shape">
            <a:extLst>
              <a:ext uri="{FF2B5EF4-FFF2-40B4-BE49-F238E27FC236}">
                <a16:creationId xmlns:a16="http://schemas.microsoft.com/office/drawing/2014/main" id="{C962996D-A967-BB40-9AB4-9FB6A5FDB65A}"/>
              </a:ext>
            </a:extLst>
          </p:cNvPr>
          <p:cNvSpPr/>
          <p:nvPr/>
        </p:nvSpPr>
        <p:spPr>
          <a:xfrm>
            <a:off x="12176125" y="196100"/>
            <a:ext cx="1132727" cy="215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>
            <a:miter lim="400000"/>
          </a:ln>
        </p:spPr>
        <p:txBody>
          <a:bodyPr lIns="28574" tIns="28574" rIns="28574" bIns="28574" anchor="ctr"/>
          <a:lstStyle/>
          <a:p>
            <a:pPr defTabSz="685783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300" dirty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79040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3_tema_sbrf">
  <a:themeElements>
    <a:clrScheme name="Другая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92D050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 w="9525">
          <a:solidFill>
            <a:schemeClr val="accent6"/>
          </a:solidFill>
        </a:ln>
      </a:spPr>
      <a:bodyPr lIns="104418" tIns="52209" rIns="104418" bIns="52209" rtlCol="0" anchor="t"/>
      <a:lstStyle>
        <a:defPPr defTabSz="1043734" hangingPunct="1">
          <a:defRPr sz="1300" kern="1200" dirty="0">
            <a:solidFill>
              <a:srgbClr val="000000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12700">
          <a:miter lim="400000"/>
        </a:ln>
        <a:effectLst>
          <a:outerShdw blurRad="190500" dist="92923" dir="16991084" rotWithShape="0">
            <a:schemeClr val="accent1"/>
          </a:outerShdw>
        </a:effectLst>
        <a:extLst>
          <a:ext uri="{C572A759-6A51-4108-AA02-DFA0A04FC94B}">
            <ma14:wrappingTextBoxFlag xmlns:ma14="http://schemas.microsoft.com/office/mac/drawingml/2011/main" xmlns="" val="1"/>
          </a:ext>
        </a:extLst>
      </a:spPr>
      <a:bodyPr wrap="none" lIns="50800" tIns="50800" rIns="50800" bIns="50800" anchor="ctr">
        <a:spAutoFit/>
      </a:bodyPr>
      <a:lstStyle>
        <a:defPPr>
          <a:defRPr dirty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a_sbrf" id="{B085898A-4814-4E57-A65F-766BB6F66A65}" vid="{1B29605C-C6E1-4770-B548-1360CBF7D2B2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_sbrf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>
            <a:lumMod val="20000"/>
            <a:lumOff val="80000"/>
          </a:schemeClr>
        </a:solidFill>
        <a:ln w="9525">
          <a:solidFill>
            <a:schemeClr val="accent6"/>
          </a:solidFill>
        </a:ln>
      </a:spPr>
      <a:bodyPr lIns="104418" tIns="52209" rIns="104418" bIns="52209" rtlCol="0" anchor="t"/>
      <a:lstStyle>
        <a:defPPr defTabSz="1043734" hangingPunct="1">
          <a:defRPr sz="1300" kern="1200" dirty="0">
            <a:solidFill>
              <a:srgbClr val="000000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a_sbrf" id="{B085898A-4814-4E57-A65F-766BB6F66A65}" vid="{1B29605C-C6E1-4770-B548-1360CBF7D2B2}"/>
    </a:ext>
  </a:extLst>
</a:theme>
</file>

<file path=ppt/theme/theme5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25400" dist="127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39488" tIns="39488" rIns="39488" bIns="39488" numCol="1" spcCol="38100" rtlCol="0" anchor="ctr">
        <a:spAutoFit/>
      </a:bodyPr>
      <a:lstStyle>
        <a:defPPr marL="0" marR="0" indent="0" algn="ctr" defTabSz="454123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25400" dist="127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39488" tIns="39488" rIns="39488" bIns="39488" numCol="1" spcCol="38100" rtlCol="0" anchor="ctr">
        <a:spAutoFit/>
      </a:bodyPr>
      <a:lstStyle>
        <a:defPPr marL="0" marR="0" indent="0" algn="ctr" defTabSz="454123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67</TotalTime>
  <Words>1427</Words>
  <Application>Microsoft Office PowerPoint</Application>
  <PresentationFormat>Произвольный</PresentationFormat>
  <Paragraphs>310</Paragraphs>
  <Slides>30</Slides>
  <Notes>25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45" baseType="lpstr">
      <vt:lpstr>Aharoni</vt:lpstr>
      <vt:lpstr>Al Bayan Plain</vt:lpstr>
      <vt:lpstr>Arial</vt:lpstr>
      <vt:lpstr>Butler Stencil Medium</vt:lpstr>
      <vt:lpstr>Calibri</vt:lpstr>
      <vt:lpstr>Calibri Light</vt:lpstr>
      <vt:lpstr>Helvetica Light</vt:lpstr>
      <vt:lpstr>Helvetica Neue</vt:lpstr>
      <vt:lpstr>Mistral</vt:lpstr>
      <vt:lpstr>Open Sans</vt:lpstr>
      <vt:lpstr>3_tema_sbrf</vt:lpstr>
      <vt:lpstr>Специальное оформление</vt:lpstr>
      <vt:lpstr>1_Специальное оформление</vt:lpstr>
      <vt:lpstr>tema_sbrf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ОШЕННИЧЕСТВО ПО ТЕЛЕФОНУ</vt:lpstr>
      <vt:lpstr>КАК ПОНЯТЬ, ЧТО ЗВОНИТ МОШЕННИК?</vt:lpstr>
      <vt:lpstr>Презентация PowerPoint</vt:lpstr>
      <vt:lpstr>ПРИМЕРЫ МОШЕННИЧЕСКИХ СООБЩЕНИЙ</vt:lpstr>
      <vt:lpstr>Презентация PowerPoint</vt:lpstr>
      <vt:lpstr>ДЕЙСТВИЯ ПРИ МОШЕННИЧЕСТВЕ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рина Матвийчук</dc:creator>
  <cp:lastModifiedBy>Мельникова Ирина Игоревна</cp:lastModifiedBy>
  <cp:revision>287</cp:revision>
  <cp:lastPrinted>2019-04-05T12:24:34Z</cp:lastPrinted>
  <dcterms:created xsi:type="dcterms:W3CDTF">2019-03-01T10:19:53Z</dcterms:created>
  <dcterms:modified xsi:type="dcterms:W3CDTF">2019-10-16T13:11:07Z</dcterms:modified>
</cp:coreProperties>
</file>